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701" r:id="rId2"/>
    <p:sldMasterId id="2147483714" r:id="rId3"/>
    <p:sldMasterId id="2147483727" r:id="rId4"/>
  </p:sldMasterIdLst>
  <p:notesMasterIdLst>
    <p:notesMasterId r:id="rId16"/>
  </p:notesMasterIdLst>
  <p:sldIdLst>
    <p:sldId id="9923" r:id="rId5"/>
    <p:sldId id="9918" r:id="rId6"/>
    <p:sldId id="317" r:id="rId7"/>
    <p:sldId id="309" r:id="rId8"/>
    <p:sldId id="9924" r:id="rId9"/>
    <p:sldId id="9929" r:id="rId10"/>
    <p:sldId id="9928" r:id="rId11"/>
    <p:sldId id="9921" r:id="rId12"/>
    <p:sldId id="315" r:id="rId13"/>
    <p:sldId id="9926" r:id="rId14"/>
    <p:sldId id="9927" r:id="rId1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848"/>
    <a:srgbClr val="605D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7311" autoAdjust="0"/>
  </p:normalViewPr>
  <p:slideViewPr>
    <p:cSldViewPr snapToGrid="0" showGuides="1">
      <p:cViewPr varScale="1">
        <p:scale>
          <a:sx n="82" d="100"/>
          <a:sy n="82" d="100"/>
        </p:scale>
        <p:origin x="720" y="72"/>
      </p:cViewPr>
      <p:guideLst>
        <p:guide orient="horz" pos="2160"/>
        <p:guide pos="3840"/>
      </p:guideLst>
    </p:cSldViewPr>
  </p:slideViewPr>
  <p:notesTextViewPr>
    <p:cViewPr>
      <p:scale>
        <a:sx n="1" d="1"/>
        <a:sy n="1" d="1"/>
      </p:scale>
      <p:origin x="0" y="0"/>
    </p:cViewPr>
  </p:notesTextViewPr>
  <p:sorterViewPr>
    <p:cViewPr>
      <p:scale>
        <a:sx n="60" d="100"/>
        <a:sy n="6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0FD482-0830-4CE2-8CAC-E4BBA5E96A4D}" type="datetimeFigureOut">
              <a:rPr lang="sv-SE" smtClean="0"/>
              <a:t>2023-04-03</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19FAB8-8AA6-49BD-99AB-B816102A1334}" type="slidenum">
              <a:rPr lang="sv-SE" smtClean="0"/>
              <a:t>‹#›</a:t>
            </a:fld>
            <a:endParaRPr lang="sv-SE"/>
          </a:p>
        </p:txBody>
      </p:sp>
    </p:spTree>
    <p:extLst>
      <p:ext uri="{BB962C8B-B14F-4D97-AF65-F5344CB8AC3E}">
        <p14:creationId xmlns:p14="http://schemas.microsoft.com/office/powerpoint/2010/main" val="8226422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Där inte patienten klarar av själv att boka in sin tid ska de administrativa resurserna utföra det.</a:t>
            </a:r>
          </a:p>
          <a:p>
            <a:endParaRPr lang="sv-SE" dirty="0"/>
          </a:p>
        </p:txBody>
      </p:sp>
      <p:sp>
        <p:nvSpPr>
          <p:cNvPr id="4" name="Platshållare för bildnummer 3"/>
          <p:cNvSpPr>
            <a:spLocks noGrp="1"/>
          </p:cNvSpPr>
          <p:nvPr>
            <p:ph type="sldNum" sz="quarter" idx="5"/>
          </p:nvPr>
        </p:nvSpPr>
        <p:spPr/>
        <p:txBody>
          <a:bodyPr/>
          <a:lstStyle/>
          <a:p>
            <a:fld id="{9F19FAB8-8AA6-49BD-99AB-B816102A1334}" type="slidenum">
              <a:rPr lang="sv-SE" smtClean="0"/>
              <a:t>2</a:t>
            </a:fld>
            <a:endParaRPr lang="sv-SE"/>
          </a:p>
        </p:txBody>
      </p:sp>
    </p:spTree>
    <p:extLst>
      <p:ext uri="{BB962C8B-B14F-4D97-AF65-F5344CB8AC3E}">
        <p14:creationId xmlns:p14="http://schemas.microsoft.com/office/powerpoint/2010/main" val="1966146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antera sina tider – Se/boka/av/omboka sina tider</a:t>
            </a:r>
          </a:p>
        </p:txBody>
      </p:sp>
      <p:sp>
        <p:nvSpPr>
          <p:cNvPr id="4" name="Platshållare för bildnummer 3"/>
          <p:cNvSpPr>
            <a:spLocks noGrp="1"/>
          </p:cNvSpPr>
          <p:nvPr>
            <p:ph type="sldNum" sz="quarter" idx="5"/>
          </p:nvPr>
        </p:nvSpPr>
        <p:spPr/>
        <p:txBody>
          <a:bodyPr/>
          <a:lstStyle/>
          <a:p>
            <a:fld id="{9F19FAB8-8AA6-49BD-99AB-B816102A1334}" type="slidenum">
              <a:rPr lang="sv-SE" smtClean="0"/>
              <a:t>4</a:t>
            </a:fld>
            <a:endParaRPr lang="sv-SE"/>
          </a:p>
        </p:txBody>
      </p:sp>
    </p:spTree>
    <p:extLst>
      <p:ext uri="{BB962C8B-B14F-4D97-AF65-F5344CB8AC3E}">
        <p14:creationId xmlns:p14="http://schemas.microsoft.com/office/powerpoint/2010/main" val="30465159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9F19FAB8-8AA6-49BD-99AB-B816102A1334}" type="slidenum">
              <a:rPr lang="sv-SE" smtClean="0"/>
              <a:t>9</a:t>
            </a:fld>
            <a:endParaRPr lang="sv-SE"/>
          </a:p>
        </p:txBody>
      </p:sp>
    </p:spTree>
    <p:extLst>
      <p:ext uri="{BB962C8B-B14F-4D97-AF65-F5344CB8AC3E}">
        <p14:creationId xmlns:p14="http://schemas.microsoft.com/office/powerpoint/2010/main" val="5701270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pic>
        <p:nvPicPr>
          <p:cNvPr id="5" name="Bildobjekt 4">
            <a:extLst>
              <a:ext uri="{FF2B5EF4-FFF2-40B4-BE49-F238E27FC236}">
                <a16:creationId xmlns:a16="http://schemas.microsoft.com/office/drawing/2014/main" id="{5A95FB7F-C742-D5A9-1853-B5A158E6A28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284" r="19364"/>
          <a:stretch/>
        </p:blipFill>
        <p:spPr>
          <a:xfrm>
            <a:off x="6246338" y="0"/>
            <a:ext cx="5945662" cy="4331807"/>
          </a:xfrm>
          <a:prstGeom prst="rect">
            <a:avLst/>
          </a:prstGeom>
        </p:spPr>
      </p:pic>
    </p:spTree>
    <p:extLst>
      <p:ext uri="{BB962C8B-B14F-4D97-AF65-F5344CB8AC3E}">
        <p14:creationId xmlns:p14="http://schemas.microsoft.com/office/powerpoint/2010/main" val="12137335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4135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vslutningsbild">
    <p:bg>
      <p:bgPr>
        <a:solidFill>
          <a:schemeClr val="bg1"/>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FE26AE9-4F06-BE8B-CA94-01B9E86FDC5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62E9DD8D-881E-40DC-BF61-D608435DC8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0065" y="1427607"/>
            <a:ext cx="3531870" cy="4002786"/>
          </a:xfrm>
          <a:prstGeom prst="rect">
            <a:avLst/>
          </a:prstGeom>
        </p:spPr>
      </p:pic>
    </p:spTree>
    <p:extLst>
      <p:ext uri="{BB962C8B-B14F-4D97-AF65-F5344CB8AC3E}">
        <p14:creationId xmlns:p14="http://schemas.microsoft.com/office/powerpoint/2010/main" val="23030608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tx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pic>
        <p:nvPicPr>
          <p:cNvPr id="5" name="Bildobjekt 4">
            <a:extLst>
              <a:ext uri="{FF2B5EF4-FFF2-40B4-BE49-F238E27FC236}">
                <a16:creationId xmlns:a16="http://schemas.microsoft.com/office/drawing/2014/main" id="{E1839EFE-0248-88A9-AA09-D12C3981C5B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1148" r="19174"/>
          <a:stretch/>
        </p:blipFill>
        <p:spPr>
          <a:xfrm>
            <a:off x="6228308" y="-12033"/>
            <a:ext cx="5959682" cy="4343839"/>
          </a:xfrm>
          <a:prstGeom prst="rect">
            <a:avLst/>
          </a:prstGeom>
        </p:spPr>
      </p:pic>
    </p:spTree>
    <p:extLst>
      <p:ext uri="{BB962C8B-B14F-4D97-AF65-F5344CB8AC3E}">
        <p14:creationId xmlns:p14="http://schemas.microsoft.com/office/powerpoint/2010/main" val="2580235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tx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7630216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1"/>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8683362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rgbClr val="4D4848"/>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tx1"/>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11511226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till höger">
    <p:bg>
      <p:bgPr>
        <a:solidFill>
          <a:srgbClr val="4D4848"/>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tx2">
              <a:alpha val="84000"/>
            </a:schemeClr>
          </a:solidFill>
        </p:spPr>
        <p:txBody>
          <a:bodyPr>
            <a:normAutofit/>
          </a:bodyPr>
          <a:lstStyle>
            <a:lvl1pPr marL="0" indent="0">
              <a:buNone/>
              <a:defRPr sz="1600"/>
            </a:lvl1pPr>
          </a:lstStyle>
          <a:p>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tx1"/>
                </a:solidFill>
              </a:defRPr>
            </a:lvl1pPr>
          </a:lstStyle>
          <a:p>
            <a:r>
              <a:rPr lang="sv-SE" dirty="0"/>
              <a:t>Rubrik</a:t>
            </a:r>
            <a:br>
              <a:rPr lang="sv-SE" dirty="0"/>
            </a:br>
            <a:r>
              <a:rPr lang="sv-SE" dirty="0"/>
              <a:t>2 rader</a:t>
            </a:r>
          </a:p>
        </p:txBody>
      </p:sp>
      <p:pic>
        <p:nvPicPr>
          <p:cNvPr id="11" name="Bildobjekt 10" descr="Region Kronobergs logotyp i vitt.">
            <a:extLst>
              <a:ext uri="{FF2B5EF4-FFF2-40B4-BE49-F238E27FC236}">
                <a16:creationId xmlns:a16="http://schemas.microsoft.com/office/drawing/2014/main" id="{4C65C9E4-6A18-4E47-AF4A-18AC385A4BE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220B82CF-9F6C-4273-AE3B-D391F3723301}"/>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tx1"/>
                </a:solidFill>
                <a:latin typeface="Arial" panose="020B0604020202020204" pitchFamily="34" charset="0"/>
                <a:cs typeface="Arial" panose="020B0604020202020204" pitchFamily="34" charset="0"/>
              </a:rPr>
              <a:t>Lägg till en bild i bladet:</a:t>
            </a:r>
            <a:br>
              <a:rPr lang="sv-SE" sz="1200" dirty="0">
                <a:solidFill>
                  <a:schemeClr val="tx1"/>
                </a:solidFill>
                <a:latin typeface="Arial" panose="020B0604020202020204" pitchFamily="34" charset="0"/>
                <a:cs typeface="Arial" panose="020B0604020202020204" pitchFamily="34" charset="0"/>
              </a:rPr>
            </a:br>
            <a:r>
              <a:rPr lang="sv-SE" sz="1200" dirty="0">
                <a:solidFill>
                  <a:schemeClr val="tx1"/>
                </a:solidFill>
                <a:latin typeface="Arial" panose="020B0604020202020204" pitchFamily="34" charset="0"/>
                <a:cs typeface="Arial" panose="020B0604020202020204" pitchFamily="34" charset="0"/>
              </a:rPr>
              <a:t>Klicka på symbolen –välj foto – infoga. </a:t>
            </a:r>
            <a:br>
              <a:rPr lang="sv-SE" sz="1200" dirty="0">
                <a:solidFill>
                  <a:schemeClr val="tx1"/>
                </a:solidFill>
                <a:latin typeface="Arial" panose="020B0604020202020204" pitchFamily="34" charset="0"/>
                <a:cs typeface="Arial" panose="020B0604020202020204" pitchFamily="34" charset="0"/>
              </a:rPr>
            </a:br>
            <a:r>
              <a:rPr lang="sv-SE" sz="1200" dirty="0">
                <a:solidFill>
                  <a:schemeClr val="tx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2966895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tx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235800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tat">
    <p:bg>
      <p:bgPr>
        <a:solidFill>
          <a:srgbClr val="4D4848"/>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sv-SE"/>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tx1"/>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0085450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rgbClr val="4D4848"/>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tx1"/>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4"/>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32472965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944948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1219660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m">
    <p:bg>
      <p:bgPr>
        <a:solidFill>
          <a:srgbClr val="4D484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43935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vslutningsbild">
    <p:bg>
      <p:bgPr>
        <a:solidFill>
          <a:srgbClr val="4D4848"/>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FC7A09AD-8787-54E2-737F-657992EC1CE2}"/>
              </a:ext>
            </a:extLst>
          </p:cNvPr>
          <p:cNvSpPr/>
          <p:nvPr userDrawn="1"/>
        </p:nvSpPr>
        <p:spPr>
          <a:xfrm>
            <a:off x="0" y="0"/>
            <a:ext cx="12192000" cy="6858000"/>
          </a:xfrm>
          <a:prstGeom prst="rect">
            <a:avLst/>
          </a:prstGeom>
          <a:solidFill>
            <a:srgbClr val="4D48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a:extLst>
              <a:ext uri="{FF2B5EF4-FFF2-40B4-BE49-F238E27FC236}">
                <a16:creationId xmlns:a16="http://schemas.microsoft.com/office/drawing/2014/main" id="{7032055E-18AF-4C39-8C8F-38FE826D2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76552" y="1382567"/>
            <a:ext cx="3238896" cy="4575755"/>
          </a:xfrm>
          <a:prstGeom prst="rect">
            <a:avLst/>
          </a:prstGeom>
        </p:spPr>
      </p:pic>
    </p:spTree>
    <p:extLst>
      <p:ext uri="{BB962C8B-B14F-4D97-AF65-F5344CB8AC3E}">
        <p14:creationId xmlns:p14="http://schemas.microsoft.com/office/powerpoint/2010/main" val="30704556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el">
    <p:bg>
      <p:bgPr>
        <a:solidFill>
          <a:srgbClr val="4D4848"/>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7409ABD3-02BD-4FCB-9A3A-2ABFAA9F161A}"/>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7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7"/>
                </a:cubicBezTo>
                <a:close/>
              </a:path>
            </a:pathLst>
          </a:custGeom>
          <a:solidFill>
            <a:schemeClr val="tx2">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dirty="0"/>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accent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bg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27212822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bg1"/>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bg1"/>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8" name="Bildobjekt 7" descr="Region Kronobergs logotyp i vitt.">
            <a:extLst>
              <a:ext uri="{FF2B5EF4-FFF2-40B4-BE49-F238E27FC236}">
                <a16:creationId xmlns:a16="http://schemas.microsoft.com/office/drawing/2014/main" id="{1228A9B0-8CB1-47E6-B866-0880D1C19A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0" name="textruta 9">
            <a:extLst>
              <a:ext uri="{FF2B5EF4-FFF2-40B4-BE49-F238E27FC236}">
                <a16:creationId xmlns:a16="http://schemas.microsoft.com/office/drawing/2014/main" id="{FD1AEA6A-A199-455A-AFD4-A33A8DED6567}"/>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Infoga foto:</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Markera den grå ytan – högerklicka på musen och placera längst fram –  klicka på symbolen mitt på sliden &amp; infoga önskat foto. Placera sen foto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längst bak så att text, tonad platt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och logo placeras överst.</a:t>
            </a:r>
          </a:p>
        </p:txBody>
      </p:sp>
    </p:spTree>
    <p:extLst>
      <p:ext uri="{BB962C8B-B14F-4D97-AF65-F5344CB8AC3E}">
        <p14:creationId xmlns:p14="http://schemas.microsoft.com/office/powerpoint/2010/main" val="2878055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40040072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rgbClr val="4D4848"/>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230421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rgbClr val="4D4848"/>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bg1"/>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40846610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rgbClr val="4D4848"/>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tx2">
              <a:alpha val="84000"/>
            </a:schemeClr>
          </a:solidFill>
        </p:spPr>
        <p:txBody>
          <a:bodyPr>
            <a:normAutofit/>
          </a:bodyPr>
          <a:lstStyle>
            <a:lvl1pPr marL="0" indent="0">
              <a:buNone/>
              <a:defRPr sz="1600"/>
            </a:lvl1pPr>
          </a:lstStyle>
          <a:p>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bg1"/>
                </a:solidFill>
              </a:defRPr>
            </a:lvl1pPr>
          </a:lstStyle>
          <a:p>
            <a:r>
              <a:rPr lang="sv-SE" dirty="0"/>
              <a:t>Rubrik</a:t>
            </a:r>
            <a:br>
              <a:rPr lang="sv-SE" dirty="0"/>
            </a:br>
            <a:r>
              <a:rPr lang="sv-SE" dirty="0"/>
              <a:t>2 rader</a:t>
            </a:r>
          </a:p>
        </p:txBody>
      </p:sp>
      <p:pic>
        <p:nvPicPr>
          <p:cNvPr id="11" name="Bildobjekt 10" descr="Region Kronobergs logotyp i vitt.">
            <a:extLst>
              <a:ext uri="{FF2B5EF4-FFF2-40B4-BE49-F238E27FC236}">
                <a16:creationId xmlns:a16="http://schemas.microsoft.com/office/drawing/2014/main" id="{4C65C9E4-6A18-4E47-AF4A-18AC385A4BE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220B82CF-9F6C-4273-AE3B-D391F3723301}"/>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3872154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bg1"/>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1250114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2274017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tat">
    <p:bg>
      <p:bgPr>
        <a:solidFill>
          <a:srgbClr val="4D4848"/>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bg1"/>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8963719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rgbClr val="4D4848"/>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42061201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rgbClr val="4D484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bg1"/>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1002245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m">
    <p:bg>
      <p:bgPr>
        <a:solidFill>
          <a:srgbClr val="4D484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11663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rgbClr val="4D4848"/>
        </a:solidFill>
        <a:effectLst/>
      </p:bgPr>
    </p:b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7032055E-18AF-4C39-8C8F-38FE826D2A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76552" y="1382567"/>
            <a:ext cx="3238896" cy="4575755"/>
          </a:xfrm>
          <a:prstGeom prst="rect">
            <a:avLst/>
          </a:prstGeom>
        </p:spPr>
      </p:pic>
    </p:spTree>
    <p:extLst>
      <p:ext uri="{BB962C8B-B14F-4D97-AF65-F5344CB8AC3E}">
        <p14:creationId xmlns:p14="http://schemas.microsoft.com/office/powerpoint/2010/main" val="10970826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el">
    <p:bg>
      <p:bgPr>
        <a:solidFill>
          <a:schemeClr val="bg1"/>
        </a:solidFill>
        <a:effectLst/>
      </p:bgPr>
    </p:bg>
    <p:spTree>
      <p:nvGrpSpPr>
        <p:cNvPr id="1" name=""/>
        <p:cNvGrpSpPr/>
        <p:nvPr/>
      </p:nvGrpSpPr>
      <p:grpSpPr>
        <a:xfrm>
          <a:off x="0" y="0"/>
          <a:ext cx="0" cy="0"/>
          <a:chOff x="0" y="0"/>
          <a:chExt cx="0" cy="0"/>
        </a:xfrm>
      </p:grpSpPr>
      <p:sp>
        <p:nvSpPr>
          <p:cNvPr id="10" name="Frihandsfigur: Form 9">
            <a:extLst>
              <a:ext uri="{FF2B5EF4-FFF2-40B4-BE49-F238E27FC236}">
                <a16:creationId xmlns:a16="http://schemas.microsoft.com/office/drawing/2014/main" id="{29BFB0D4-1555-409D-A9C5-CBBC12A8B985}"/>
              </a:ext>
              <a:ext uri="{C183D7F6-B498-43B3-948B-1728B52AA6E4}">
                <adec:decorative xmlns:adec="http://schemas.microsoft.com/office/drawing/2017/decorative" val="1"/>
              </a:ext>
            </a:extLst>
          </p:cNvPr>
          <p:cNvSpPr/>
          <p:nvPr userDrawn="1"/>
        </p:nvSpPr>
        <p:spPr>
          <a:xfrm>
            <a:off x="6372406" y="0"/>
            <a:ext cx="5819595" cy="2685228"/>
          </a:xfrm>
          <a:custGeom>
            <a:avLst/>
            <a:gdLst>
              <a:gd name="connsiteX0" fmla="*/ 0 w 5819595"/>
              <a:gd name="connsiteY0" fmla="*/ 0 h 2685228"/>
              <a:gd name="connsiteX1" fmla="*/ 5819595 w 5819595"/>
              <a:gd name="connsiteY1" fmla="*/ 0 h 2685228"/>
              <a:gd name="connsiteX2" fmla="*/ 5819595 w 5819595"/>
              <a:gd name="connsiteY2" fmla="*/ 2685228 h 2685228"/>
              <a:gd name="connsiteX3" fmla="*/ 3496045 w 5819595"/>
              <a:gd name="connsiteY3" fmla="*/ 2685228 h 2685228"/>
              <a:gd name="connsiteX4" fmla="*/ 35886 w 5819595"/>
              <a:gd name="connsiteY4" fmla="*/ 139566 h 2685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9595" h="2685228">
                <a:moveTo>
                  <a:pt x="0" y="0"/>
                </a:moveTo>
                <a:lnTo>
                  <a:pt x="5819595" y="0"/>
                </a:lnTo>
                <a:lnTo>
                  <a:pt x="5819595" y="2685228"/>
                </a:lnTo>
                <a:lnTo>
                  <a:pt x="3496045" y="2685228"/>
                </a:lnTo>
                <a:cubicBezTo>
                  <a:pt x="1870272" y="2685228"/>
                  <a:pt x="494605" y="1614394"/>
                  <a:pt x="35886" y="139566"/>
                </a:cubicBezTo>
                <a:close/>
              </a:path>
            </a:pathLst>
          </a:cu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sv-SE" dirty="0"/>
          </a:p>
        </p:txBody>
      </p:sp>
      <p:sp>
        <p:nvSpPr>
          <p:cNvPr id="13" name="Rektangel: diagonala rundade hörn 12">
            <a:extLst>
              <a:ext uri="{FF2B5EF4-FFF2-40B4-BE49-F238E27FC236}">
                <a16:creationId xmlns:a16="http://schemas.microsoft.com/office/drawing/2014/main" id="{085BFCB0-8CC1-4A75-93AC-792B15E36532}"/>
              </a:ext>
              <a:ext uri="{C183D7F6-B498-43B3-948B-1728B52AA6E4}">
                <adec:decorative xmlns:adec="http://schemas.microsoft.com/office/drawing/2017/decorative" val="1"/>
              </a:ext>
            </a:extLst>
          </p:cNvPr>
          <p:cNvSpPr/>
          <p:nvPr userDrawn="1"/>
        </p:nvSpPr>
        <p:spPr>
          <a:xfrm>
            <a:off x="10057165" y="1806822"/>
            <a:ext cx="2435585" cy="2524985"/>
          </a:xfrm>
          <a:prstGeom prst="round2DiagRect">
            <a:avLst>
              <a:gd name="adj1" fmla="val 0"/>
              <a:gd name="adj2" fmla="val 38747"/>
            </a:avLst>
          </a:prstGeom>
          <a:solidFill>
            <a:schemeClr val="bg2">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1169988"/>
            <a:ext cx="5712278" cy="2387600"/>
          </a:xfrm>
        </p:spPr>
        <p:txBody>
          <a:bodyPr anchor="b"/>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3687763"/>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spTree>
    <p:extLst>
      <p:ext uri="{BB962C8B-B14F-4D97-AF65-F5344CB8AC3E}">
        <p14:creationId xmlns:p14="http://schemas.microsoft.com/office/powerpoint/2010/main" val="32573474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med foto">
    <p:bg>
      <p:bgPr>
        <a:solidFill>
          <a:srgbClr val="4D4848"/>
        </a:solidFill>
        <a:effectLst/>
      </p:bgPr>
    </p:bg>
    <p:spTree>
      <p:nvGrpSpPr>
        <p:cNvPr id="1" name=""/>
        <p:cNvGrpSpPr/>
        <p:nvPr/>
      </p:nvGrpSpPr>
      <p:grpSpPr>
        <a:xfrm>
          <a:off x="0" y="0"/>
          <a:ext cx="0" cy="0"/>
          <a:chOff x="0" y="0"/>
          <a:chExt cx="0" cy="0"/>
        </a:xfrm>
      </p:grpSpPr>
      <p:sp>
        <p:nvSpPr>
          <p:cNvPr id="7" name="Platshållare för bild 5">
            <a:extLst>
              <a:ext uri="{FF2B5EF4-FFF2-40B4-BE49-F238E27FC236}">
                <a16:creationId xmlns:a16="http://schemas.microsoft.com/office/drawing/2014/main" id="{4F06FA1F-3619-4153-ADE7-3A35D8A53324}"/>
              </a:ext>
            </a:extLst>
          </p:cNvPr>
          <p:cNvSpPr>
            <a:spLocks noGrp="1"/>
          </p:cNvSpPr>
          <p:nvPr>
            <p:ph type="pic" sz="quarter" idx="11"/>
          </p:nvPr>
        </p:nvSpPr>
        <p:spPr>
          <a:xfrm>
            <a:off x="-1" y="0"/>
            <a:ext cx="12220575" cy="6867525"/>
          </a:xfrm>
          <a:solidFill>
            <a:schemeClr val="accent6">
              <a:lumMod val="60000"/>
              <a:lumOff val="40000"/>
            </a:schemeClr>
          </a:solidFill>
        </p:spPr>
        <p:txBody>
          <a:bodyPr lIns="252000" tIns="144000" rIns="72000">
            <a:normAutofit/>
          </a:bodyPr>
          <a:lstStyle>
            <a:lvl1pPr marL="0" indent="0">
              <a:buNone/>
              <a:defRPr sz="1600">
                <a:solidFill>
                  <a:schemeClr val="bg1"/>
                </a:solidFill>
              </a:defRPr>
            </a:lvl1pPr>
          </a:lstStyle>
          <a:p>
            <a:r>
              <a:rPr lang="sv-SE" dirty="0"/>
              <a:t>Klicka på ikonen för att lägga till en bild</a:t>
            </a:r>
          </a:p>
        </p:txBody>
      </p:sp>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166294" y="-177398"/>
            <a:ext cx="11989327" cy="5968558"/>
          </a:xfrm>
          <a:custGeom>
            <a:avLst/>
            <a:gdLst>
              <a:gd name="connsiteX0" fmla="*/ 0 w 16844794"/>
              <a:gd name="connsiteY0" fmla="*/ 486071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0 w 16844794"/>
              <a:gd name="connsiteY8" fmla="*/ 4860710 h 10491496"/>
              <a:gd name="connsiteX0" fmla="*/ 4780547 w 16844794"/>
              <a:gd name="connsiteY0" fmla="*/ 4636120 h 10491496"/>
              <a:gd name="connsiteX1" fmla="*/ 4860710 w 16844794"/>
              <a:gd name="connsiteY1" fmla="*/ 0 h 10491496"/>
              <a:gd name="connsiteX2" fmla="*/ 11984084 w 16844794"/>
              <a:gd name="connsiteY2" fmla="*/ 0 h 10491496"/>
              <a:gd name="connsiteX3" fmla="*/ 16844794 w 16844794"/>
              <a:gd name="connsiteY3" fmla="*/ 4860710 h 10491496"/>
              <a:gd name="connsiteX4" fmla="*/ 16844794 w 16844794"/>
              <a:gd name="connsiteY4" fmla="*/ 5630786 h 10491496"/>
              <a:gd name="connsiteX5" fmla="*/ 11984084 w 16844794"/>
              <a:gd name="connsiteY5" fmla="*/ 10491496 h 10491496"/>
              <a:gd name="connsiteX6" fmla="*/ 4860710 w 16844794"/>
              <a:gd name="connsiteY6" fmla="*/ 10491496 h 10491496"/>
              <a:gd name="connsiteX7" fmla="*/ 0 w 16844794"/>
              <a:gd name="connsiteY7" fmla="*/ 5630786 h 10491496"/>
              <a:gd name="connsiteX8" fmla="*/ 4780547 w 16844794"/>
              <a:gd name="connsiteY8" fmla="*/ 4636120 h 10491496"/>
              <a:gd name="connsiteX0" fmla="*/ 1138410 w 13202657"/>
              <a:gd name="connsiteY0" fmla="*/ 4636120 h 10491496"/>
              <a:gd name="connsiteX1" fmla="*/ 1218573 w 13202657"/>
              <a:gd name="connsiteY1" fmla="*/ 0 h 10491496"/>
              <a:gd name="connsiteX2" fmla="*/ 8341947 w 13202657"/>
              <a:gd name="connsiteY2" fmla="*/ 0 h 10491496"/>
              <a:gd name="connsiteX3" fmla="*/ 13202657 w 13202657"/>
              <a:gd name="connsiteY3" fmla="*/ 4860710 h 10491496"/>
              <a:gd name="connsiteX4" fmla="*/ 13202657 w 13202657"/>
              <a:gd name="connsiteY4" fmla="*/ 5630786 h 10491496"/>
              <a:gd name="connsiteX5" fmla="*/ 8341947 w 13202657"/>
              <a:gd name="connsiteY5" fmla="*/ 10491496 h 10491496"/>
              <a:gd name="connsiteX6" fmla="*/ 1218573 w 13202657"/>
              <a:gd name="connsiteY6" fmla="*/ 10491496 h 10491496"/>
              <a:gd name="connsiteX7" fmla="*/ 1122368 w 13202657"/>
              <a:gd name="connsiteY7" fmla="*/ 5614744 h 10491496"/>
              <a:gd name="connsiteX8" fmla="*/ 1138410 w 13202657"/>
              <a:gd name="connsiteY8" fmla="*/ 4636120 h 10491496"/>
              <a:gd name="connsiteX0" fmla="*/ 1142113 w 13206360"/>
              <a:gd name="connsiteY0" fmla="*/ 4636120 h 10491496"/>
              <a:gd name="connsiteX1" fmla="*/ 1222276 w 13206360"/>
              <a:gd name="connsiteY1" fmla="*/ 0 h 10491496"/>
              <a:gd name="connsiteX2" fmla="*/ 8345650 w 13206360"/>
              <a:gd name="connsiteY2" fmla="*/ 0 h 10491496"/>
              <a:gd name="connsiteX3" fmla="*/ 13206360 w 13206360"/>
              <a:gd name="connsiteY3" fmla="*/ 4860710 h 10491496"/>
              <a:gd name="connsiteX4" fmla="*/ 13206360 w 13206360"/>
              <a:gd name="connsiteY4" fmla="*/ 5630786 h 10491496"/>
              <a:gd name="connsiteX5" fmla="*/ 8345650 w 13206360"/>
              <a:gd name="connsiteY5" fmla="*/ 10491496 h 10491496"/>
              <a:gd name="connsiteX6" fmla="*/ 1222276 w 13206360"/>
              <a:gd name="connsiteY6" fmla="*/ 10491496 h 10491496"/>
              <a:gd name="connsiteX7" fmla="*/ 1126071 w 13206360"/>
              <a:gd name="connsiteY7" fmla="*/ 5614744 h 10491496"/>
              <a:gd name="connsiteX8" fmla="*/ 1142113 w 13206360"/>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18048 w 13198337"/>
              <a:gd name="connsiteY7" fmla="*/ 5614744 h 10491496"/>
              <a:gd name="connsiteX8" fmla="*/ 1134090 w 13198337"/>
              <a:gd name="connsiteY8" fmla="*/ 4636120 h 10491496"/>
              <a:gd name="connsiteX0" fmla="*/ 1134090 w 13198337"/>
              <a:gd name="connsiteY0" fmla="*/ 4636120 h 10491496"/>
              <a:gd name="connsiteX1" fmla="*/ 1214253 w 13198337"/>
              <a:gd name="connsiteY1" fmla="*/ 0 h 10491496"/>
              <a:gd name="connsiteX2" fmla="*/ 8337627 w 13198337"/>
              <a:gd name="connsiteY2" fmla="*/ 0 h 10491496"/>
              <a:gd name="connsiteX3" fmla="*/ 13198337 w 13198337"/>
              <a:gd name="connsiteY3" fmla="*/ 4860710 h 10491496"/>
              <a:gd name="connsiteX4" fmla="*/ 13198337 w 13198337"/>
              <a:gd name="connsiteY4" fmla="*/ 5630786 h 10491496"/>
              <a:gd name="connsiteX5" fmla="*/ 8337627 w 13198337"/>
              <a:gd name="connsiteY5" fmla="*/ 10491496 h 10491496"/>
              <a:gd name="connsiteX6" fmla="*/ 1214253 w 13198337"/>
              <a:gd name="connsiteY6" fmla="*/ 10491496 h 10491496"/>
              <a:gd name="connsiteX7" fmla="*/ 1198259 w 13198337"/>
              <a:gd name="connsiteY7" fmla="*/ 5614744 h 10491496"/>
              <a:gd name="connsiteX8" fmla="*/ 1134090 w 13198337"/>
              <a:gd name="connsiteY8" fmla="*/ 4636120 h 10491496"/>
              <a:gd name="connsiteX0" fmla="*/ 1169436 w 13185557"/>
              <a:gd name="connsiteY0" fmla="*/ 4668205 h 10491496"/>
              <a:gd name="connsiteX1" fmla="*/ 1201473 w 13185557"/>
              <a:gd name="connsiteY1" fmla="*/ 0 h 10491496"/>
              <a:gd name="connsiteX2" fmla="*/ 8324847 w 13185557"/>
              <a:gd name="connsiteY2" fmla="*/ 0 h 10491496"/>
              <a:gd name="connsiteX3" fmla="*/ 13185557 w 13185557"/>
              <a:gd name="connsiteY3" fmla="*/ 4860710 h 10491496"/>
              <a:gd name="connsiteX4" fmla="*/ 13185557 w 13185557"/>
              <a:gd name="connsiteY4" fmla="*/ 5630786 h 10491496"/>
              <a:gd name="connsiteX5" fmla="*/ 8324847 w 13185557"/>
              <a:gd name="connsiteY5" fmla="*/ 10491496 h 10491496"/>
              <a:gd name="connsiteX6" fmla="*/ 1201473 w 13185557"/>
              <a:gd name="connsiteY6" fmla="*/ 10491496 h 10491496"/>
              <a:gd name="connsiteX7" fmla="*/ 1185479 w 13185557"/>
              <a:gd name="connsiteY7" fmla="*/ 5614744 h 10491496"/>
              <a:gd name="connsiteX8" fmla="*/ 1169436 w 13185557"/>
              <a:gd name="connsiteY8" fmla="*/ 4668205 h 10491496"/>
              <a:gd name="connsiteX0" fmla="*/ 284 w 12016405"/>
              <a:gd name="connsiteY0" fmla="*/ 4668205 h 10491496"/>
              <a:gd name="connsiteX1" fmla="*/ 32321 w 12016405"/>
              <a:gd name="connsiteY1" fmla="*/ 0 h 10491496"/>
              <a:gd name="connsiteX2" fmla="*/ 7155695 w 12016405"/>
              <a:gd name="connsiteY2" fmla="*/ 0 h 10491496"/>
              <a:gd name="connsiteX3" fmla="*/ 12016405 w 12016405"/>
              <a:gd name="connsiteY3" fmla="*/ 4860710 h 10491496"/>
              <a:gd name="connsiteX4" fmla="*/ 12016405 w 12016405"/>
              <a:gd name="connsiteY4" fmla="*/ 5630786 h 10491496"/>
              <a:gd name="connsiteX5" fmla="*/ 7155695 w 12016405"/>
              <a:gd name="connsiteY5" fmla="*/ 10491496 h 10491496"/>
              <a:gd name="connsiteX6" fmla="*/ 32321 w 12016405"/>
              <a:gd name="connsiteY6" fmla="*/ 10491496 h 10491496"/>
              <a:gd name="connsiteX7" fmla="*/ 16327 w 12016405"/>
              <a:gd name="connsiteY7" fmla="*/ 5614744 h 10491496"/>
              <a:gd name="connsiteX8" fmla="*/ 284 w 12016405"/>
              <a:gd name="connsiteY8" fmla="*/ 4668205 h 10491496"/>
              <a:gd name="connsiteX0" fmla="*/ 0 w 12016121"/>
              <a:gd name="connsiteY0" fmla="*/ 4668205 h 10491496"/>
              <a:gd name="connsiteX1" fmla="*/ 32037 w 12016121"/>
              <a:gd name="connsiteY1" fmla="*/ 0 h 10491496"/>
              <a:gd name="connsiteX2" fmla="*/ 7155411 w 12016121"/>
              <a:gd name="connsiteY2" fmla="*/ 0 h 10491496"/>
              <a:gd name="connsiteX3" fmla="*/ 12016121 w 12016121"/>
              <a:gd name="connsiteY3" fmla="*/ 4860710 h 10491496"/>
              <a:gd name="connsiteX4" fmla="*/ 12016121 w 12016121"/>
              <a:gd name="connsiteY4" fmla="*/ 5630786 h 10491496"/>
              <a:gd name="connsiteX5" fmla="*/ 7155411 w 12016121"/>
              <a:gd name="connsiteY5" fmla="*/ 10491496 h 10491496"/>
              <a:gd name="connsiteX6" fmla="*/ 32037 w 12016121"/>
              <a:gd name="connsiteY6" fmla="*/ 10491496 h 10491496"/>
              <a:gd name="connsiteX7" fmla="*/ 16043 w 12016121"/>
              <a:gd name="connsiteY7" fmla="*/ 5614744 h 10491496"/>
              <a:gd name="connsiteX8" fmla="*/ 0 w 12016121"/>
              <a:gd name="connsiteY8" fmla="*/ 4668205 h 10491496"/>
              <a:gd name="connsiteX0" fmla="*/ 19695 w 12003732"/>
              <a:gd name="connsiteY0" fmla="*/ 4668205 h 10491496"/>
              <a:gd name="connsiteX1" fmla="*/ 19648 w 12003732"/>
              <a:gd name="connsiteY1" fmla="*/ 0 h 10491496"/>
              <a:gd name="connsiteX2" fmla="*/ 7143022 w 12003732"/>
              <a:gd name="connsiteY2" fmla="*/ 0 h 10491496"/>
              <a:gd name="connsiteX3" fmla="*/ 12003732 w 12003732"/>
              <a:gd name="connsiteY3" fmla="*/ 4860710 h 10491496"/>
              <a:gd name="connsiteX4" fmla="*/ 12003732 w 12003732"/>
              <a:gd name="connsiteY4" fmla="*/ 5630786 h 10491496"/>
              <a:gd name="connsiteX5" fmla="*/ 7143022 w 12003732"/>
              <a:gd name="connsiteY5" fmla="*/ 10491496 h 10491496"/>
              <a:gd name="connsiteX6" fmla="*/ 19648 w 12003732"/>
              <a:gd name="connsiteY6" fmla="*/ 10491496 h 10491496"/>
              <a:gd name="connsiteX7" fmla="*/ 3654 w 12003732"/>
              <a:gd name="connsiteY7" fmla="*/ 5614744 h 10491496"/>
              <a:gd name="connsiteX8" fmla="*/ 19695 w 12003732"/>
              <a:gd name="connsiteY8" fmla="*/ 4668205 h 10491496"/>
              <a:gd name="connsiteX0" fmla="*/ 5290 w 11989327"/>
              <a:gd name="connsiteY0" fmla="*/ 4668205 h 10491496"/>
              <a:gd name="connsiteX1" fmla="*/ 5243 w 11989327"/>
              <a:gd name="connsiteY1" fmla="*/ 0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4668205 h 10491496"/>
              <a:gd name="connsiteX1" fmla="*/ 5243 w 11989327"/>
              <a:gd name="connsiteY1" fmla="*/ 4555958 h 10491496"/>
              <a:gd name="connsiteX2" fmla="*/ 7128617 w 11989327"/>
              <a:gd name="connsiteY2" fmla="*/ 0 h 10491496"/>
              <a:gd name="connsiteX3" fmla="*/ 11989327 w 11989327"/>
              <a:gd name="connsiteY3" fmla="*/ 4860710 h 10491496"/>
              <a:gd name="connsiteX4" fmla="*/ 11989327 w 11989327"/>
              <a:gd name="connsiteY4" fmla="*/ 5630786 h 10491496"/>
              <a:gd name="connsiteX5" fmla="*/ 7128617 w 11989327"/>
              <a:gd name="connsiteY5" fmla="*/ 10491496 h 10491496"/>
              <a:gd name="connsiteX6" fmla="*/ 5243 w 11989327"/>
              <a:gd name="connsiteY6" fmla="*/ 10491496 h 10491496"/>
              <a:gd name="connsiteX7" fmla="*/ 5291 w 11989327"/>
              <a:gd name="connsiteY7" fmla="*/ 5630786 h 10491496"/>
              <a:gd name="connsiteX8" fmla="*/ 5290 w 11989327"/>
              <a:gd name="connsiteY8" fmla="*/ 4668205 h 10491496"/>
              <a:gd name="connsiteX0" fmla="*/ 5290 w 11989327"/>
              <a:gd name="connsiteY0" fmla="*/ 1089855 h 6913146"/>
              <a:gd name="connsiteX1" fmla="*/ 5243 w 11989327"/>
              <a:gd name="connsiteY1" fmla="*/ 977608 h 6913146"/>
              <a:gd name="connsiteX2" fmla="*/ 7818427 w 11989327"/>
              <a:gd name="connsiteY2" fmla="*/ 961566 h 6913146"/>
              <a:gd name="connsiteX3" fmla="*/ 11989327 w 11989327"/>
              <a:gd name="connsiteY3" fmla="*/ 1282360 h 6913146"/>
              <a:gd name="connsiteX4" fmla="*/ 11989327 w 11989327"/>
              <a:gd name="connsiteY4" fmla="*/ 2052436 h 6913146"/>
              <a:gd name="connsiteX5" fmla="*/ 7128617 w 11989327"/>
              <a:gd name="connsiteY5" fmla="*/ 6913146 h 6913146"/>
              <a:gd name="connsiteX6" fmla="*/ 5243 w 11989327"/>
              <a:gd name="connsiteY6" fmla="*/ 6913146 h 6913146"/>
              <a:gd name="connsiteX7" fmla="*/ 5291 w 11989327"/>
              <a:gd name="connsiteY7" fmla="*/ 2052436 h 6913146"/>
              <a:gd name="connsiteX8" fmla="*/ 5290 w 11989327"/>
              <a:gd name="connsiteY8" fmla="*/ 1089855 h 6913146"/>
              <a:gd name="connsiteX0" fmla="*/ 5290 w 11989327"/>
              <a:gd name="connsiteY0" fmla="*/ 1333331 h 7156622"/>
              <a:gd name="connsiteX1" fmla="*/ 5243 w 11989327"/>
              <a:gd name="connsiteY1" fmla="*/ 1221084 h 7156622"/>
              <a:gd name="connsiteX2" fmla="*/ 7818427 w 11989327"/>
              <a:gd name="connsiteY2" fmla="*/ 1205042 h 7156622"/>
              <a:gd name="connsiteX3" fmla="*/ 11989327 w 11989327"/>
              <a:gd name="connsiteY3" fmla="*/ 1188952 h 7156622"/>
              <a:gd name="connsiteX4" fmla="*/ 11989327 w 11989327"/>
              <a:gd name="connsiteY4" fmla="*/ 2295912 h 7156622"/>
              <a:gd name="connsiteX5" fmla="*/ 7128617 w 11989327"/>
              <a:gd name="connsiteY5" fmla="*/ 7156622 h 7156622"/>
              <a:gd name="connsiteX6" fmla="*/ 5243 w 11989327"/>
              <a:gd name="connsiteY6" fmla="*/ 7156622 h 7156622"/>
              <a:gd name="connsiteX7" fmla="*/ 5291 w 11989327"/>
              <a:gd name="connsiteY7" fmla="*/ 2295912 h 7156622"/>
              <a:gd name="connsiteX8" fmla="*/ 5290 w 11989327"/>
              <a:gd name="connsiteY8" fmla="*/ 1333331 h 7156622"/>
              <a:gd name="connsiteX0" fmla="*/ 5290 w 11989327"/>
              <a:gd name="connsiteY0" fmla="*/ 657151 h 6480442"/>
              <a:gd name="connsiteX1" fmla="*/ 5243 w 11989327"/>
              <a:gd name="connsiteY1" fmla="*/ 544904 h 6480442"/>
              <a:gd name="connsiteX2" fmla="*/ 7818427 w 11989327"/>
              <a:gd name="connsiteY2" fmla="*/ 528862 h 6480442"/>
              <a:gd name="connsiteX3" fmla="*/ 11989327 w 11989327"/>
              <a:gd name="connsiteY3" fmla="*/ 512772 h 6480442"/>
              <a:gd name="connsiteX4" fmla="*/ 11989327 w 11989327"/>
              <a:gd name="connsiteY4" fmla="*/ 1619732 h 6480442"/>
              <a:gd name="connsiteX5" fmla="*/ 7128617 w 11989327"/>
              <a:gd name="connsiteY5" fmla="*/ 6480442 h 6480442"/>
              <a:gd name="connsiteX6" fmla="*/ 5243 w 11989327"/>
              <a:gd name="connsiteY6" fmla="*/ 6480442 h 6480442"/>
              <a:gd name="connsiteX7" fmla="*/ 5291 w 11989327"/>
              <a:gd name="connsiteY7" fmla="*/ 1619732 h 6480442"/>
              <a:gd name="connsiteX8" fmla="*/ 5290 w 11989327"/>
              <a:gd name="connsiteY8" fmla="*/ 657151 h 6480442"/>
              <a:gd name="connsiteX0" fmla="*/ 5290 w 11989327"/>
              <a:gd name="connsiteY0" fmla="*/ 679201 h 6245818"/>
              <a:gd name="connsiteX1" fmla="*/ 5243 w 11989327"/>
              <a:gd name="connsiteY1" fmla="*/ 310280 h 6245818"/>
              <a:gd name="connsiteX2" fmla="*/ 7818427 w 11989327"/>
              <a:gd name="connsiteY2" fmla="*/ 294238 h 6245818"/>
              <a:gd name="connsiteX3" fmla="*/ 11989327 w 11989327"/>
              <a:gd name="connsiteY3" fmla="*/ 278148 h 6245818"/>
              <a:gd name="connsiteX4" fmla="*/ 11989327 w 11989327"/>
              <a:gd name="connsiteY4" fmla="*/ 1385108 h 6245818"/>
              <a:gd name="connsiteX5" fmla="*/ 7128617 w 11989327"/>
              <a:gd name="connsiteY5" fmla="*/ 6245818 h 6245818"/>
              <a:gd name="connsiteX6" fmla="*/ 5243 w 11989327"/>
              <a:gd name="connsiteY6" fmla="*/ 6245818 h 6245818"/>
              <a:gd name="connsiteX7" fmla="*/ 5291 w 11989327"/>
              <a:gd name="connsiteY7" fmla="*/ 1385108 h 6245818"/>
              <a:gd name="connsiteX8" fmla="*/ 5290 w 11989327"/>
              <a:gd name="connsiteY8" fmla="*/ 679201 h 6245818"/>
              <a:gd name="connsiteX0" fmla="*/ 5290 w 11989327"/>
              <a:gd name="connsiteY0" fmla="*/ 401941 h 5968558"/>
              <a:gd name="connsiteX1" fmla="*/ 5243 w 11989327"/>
              <a:gd name="connsiteY1" fmla="*/ 33020 h 5968558"/>
              <a:gd name="connsiteX2" fmla="*/ 7818427 w 11989327"/>
              <a:gd name="connsiteY2" fmla="*/ 16978 h 5968558"/>
              <a:gd name="connsiteX3" fmla="*/ 11989327 w 11989327"/>
              <a:gd name="connsiteY3" fmla="*/ 888 h 5968558"/>
              <a:gd name="connsiteX4" fmla="*/ 11989327 w 11989327"/>
              <a:gd name="connsiteY4" fmla="*/ 1107848 h 5968558"/>
              <a:gd name="connsiteX5" fmla="*/ 7128617 w 11989327"/>
              <a:gd name="connsiteY5" fmla="*/ 5968558 h 5968558"/>
              <a:gd name="connsiteX6" fmla="*/ 5243 w 11989327"/>
              <a:gd name="connsiteY6" fmla="*/ 5968558 h 5968558"/>
              <a:gd name="connsiteX7" fmla="*/ 5291 w 11989327"/>
              <a:gd name="connsiteY7" fmla="*/ 1107848 h 5968558"/>
              <a:gd name="connsiteX8" fmla="*/ 5290 w 11989327"/>
              <a:gd name="connsiteY8" fmla="*/ 401941 h 5968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89327" h="5968558">
                <a:moveTo>
                  <a:pt x="5290" y="401941"/>
                </a:moveTo>
                <a:cubicBezTo>
                  <a:pt x="5290" y="11466"/>
                  <a:pt x="-221" y="4139799"/>
                  <a:pt x="5243" y="33020"/>
                </a:cubicBezTo>
                <a:lnTo>
                  <a:pt x="7818427" y="16978"/>
                </a:lnTo>
                <a:cubicBezTo>
                  <a:pt x="10502923" y="16978"/>
                  <a:pt x="9085706" y="-4577"/>
                  <a:pt x="11989327" y="888"/>
                </a:cubicBezTo>
                <a:lnTo>
                  <a:pt x="11989327" y="1107848"/>
                </a:lnTo>
                <a:cubicBezTo>
                  <a:pt x="11989327" y="3792344"/>
                  <a:pt x="9813113" y="5968558"/>
                  <a:pt x="7128617" y="5968558"/>
                </a:cubicBezTo>
                <a:lnTo>
                  <a:pt x="5243" y="5968558"/>
                </a:lnTo>
                <a:cubicBezTo>
                  <a:pt x="15821" y="3465989"/>
                  <a:pt x="-10751" y="2220218"/>
                  <a:pt x="5291" y="1107848"/>
                </a:cubicBezTo>
                <a:cubicBezTo>
                  <a:pt x="5291" y="851156"/>
                  <a:pt x="5290" y="658633"/>
                  <a:pt x="5290" y="401941"/>
                </a:cubicBezTo>
                <a:close/>
              </a:path>
            </a:pathLst>
          </a:custGeom>
          <a:solidFill>
            <a:schemeClr val="accent1">
              <a:alpha val="56000"/>
            </a:schemeClr>
          </a:solidFill>
        </p:spPr>
        <p:txBody>
          <a:bodyPr lIns="1080000" bIns="2556000" anchor="b"/>
          <a:lstStyle>
            <a:lvl1pPr algn="l">
              <a:defRPr sz="6200">
                <a:solidFill>
                  <a:schemeClr val="tx2"/>
                </a:solidFill>
              </a:defRPr>
            </a:lvl1pPr>
          </a:lstStyle>
          <a:p>
            <a:r>
              <a:rPr lang="sv-SE" dirty="0"/>
              <a:t>titel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2" y="3230562"/>
            <a:ext cx="4827670" cy="1341437"/>
          </a:xfrm>
        </p:spPr>
        <p:txBody>
          <a:bodyPr/>
          <a:lstStyle>
            <a:lvl1pPr marL="0" indent="0" algn="l">
              <a:buNone/>
              <a:defRPr sz="2700" cap="all" baseline="0">
                <a:solidFill>
                  <a:schemeClr val="tx2"/>
                </a:solidFill>
                <a:latin typeface="Brandon Grotesque Bold" panose="020B0803020203060202"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a:t>
            </a:r>
          </a:p>
        </p:txBody>
      </p:sp>
      <p:pic>
        <p:nvPicPr>
          <p:cNvPr id="9" name="Bildobjekt 8">
            <a:extLst>
              <a:ext uri="{FF2B5EF4-FFF2-40B4-BE49-F238E27FC236}">
                <a16:creationId xmlns:a16="http://schemas.microsoft.com/office/drawing/2014/main" id="{082C8CDB-841E-4451-8F93-CF077CC5F5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14" name="textruta 13">
            <a:extLst>
              <a:ext uri="{FF2B5EF4-FFF2-40B4-BE49-F238E27FC236}">
                <a16:creationId xmlns:a16="http://schemas.microsoft.com/office/drawing/2014/main" id="{68B9AFF0-69E0-4755-9B97-82BE6ACD3F9C}"/>
              </a:ext>
            </a:extLst>
          </p:cNvPr>
          <p:cNvSpPr txBox="1"/>
          <p:nvPr userDrawn="1"/>
        </p:nvSpPr>
        <p:spPr>
          <a:xfrm>
            <a:off x="9448799" y="-1463689"/>
            <a:ext cx="2768010" cy="1384995"/>
          </a:xfrm>
          <a:prstGeom prst="rect">
            <a:avLst/>
          </a:prstGeom>
          <a:solidFill>
            <a:schemeClr val="tx2"/>
          </a:solidFill>
        </p:spPr>
        <p:txBody>
          <a:bodyPr wrap="square" rtlCol="0">
            <a:spAutoFit/>
          </a:bodyPr>
          <a:lstStyle/>
          <a:p>
            <a:r>
              <a:rPr lang="sv-SE" sz="1200" b="1" dirty="0">
                <a:solidFill>
                  <a:schemeClr val="bg1"/>
                </a:solidFill>
                <a:latin typeface="+mn-lt"/>
              </a:rPr>
              <a:t>Infoga foto:</a:t>
            </a:r>
            <a:br>
              <a:rPr lang="sv-SE" sz="1200" dirty="0">
                <a:solidFill>
                  <a:schemeClr val="bg1"/>
                </a:solidFill>
                <a:latin typeface="+mn-lt"/>
              </a:rPr>
            </a:br>
            <a:r>
              <a:rPr lang="sv-SE" sz="1200" dirty="0">
                <a:solidFill>
                  <a:schemeClr val="bg1"/>
                </a:solidFill>
                <a:latin typeface="+mn-lt"/>
              </a:rPr>
              <a:t>Markera den grå ytan – högerklicka på musen och placera längst fram –  klicka på symbolen mitt på sliden &amp; infoga önskat foto. Placera sen fotot</a:t>
            </a:r>
            <a:br>
              <a:rPr lang="sv-SE" sz="1200" dirty="0">
                <a:solidFill>
                  <a:schemeClr val="bg1"/>
                </a:solidFill>
                <a:latin typeface="+mn-lt"/>
              </a:rPr>
            </a:br>
            <a:r>
              <a:rPr lang="sv-SE" sz="1200" dirty="0">
                <a:solidFill>
                  <a:schemeClr val="bg1"/>
                </a:solidFill>
                <a:latin typeface="+mn-lt"/>
              </a:rPr>
              <a:t>längst bak så att text, tonad platta </a:t>
            </a:r>
            <a:br>
              <a:rPr lang="sv-SE" sz="1200" dirty="0">
                <a:solidFill>
                  <a:schemeClr val="bg1"/>
                </a:solidFill>
                <a:latin typeface="+mn-lt"/>
              </a:rPr>
            </a:br>
            <a:r>
              <a:rPr lang="sv-SE" sz="1200" dirty="0">
                <a:solidFill>
                  <a:schemeClr val="bg1"/>
                </a:solidFill>
                <a:latin typeface="+mn-lt"/>
              </a:rPr>
              <a:t>och logo placeras överst.</a:t>
            </a:r>
          </a:p>
        </p:txBody>
      </p:sp>
    </p:spTree>
    <p:extLst>
      <p:ext uri="{BB962C8B-B14F-4D97-AF65-F5344CB8AC3E}">
        <p14:creationId xmlns:p14="http://schemas.microsoft.com/office/powerpoint/2010/main" val="703395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ubrik &amp; innehåll">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0" y="1719263"/>
            <a:ext cx="967038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809"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7871687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ubrik &amp; 2 spalter">
    <p:bg>
      <p:bgPr>
        <a:solidFill>
          <a:schemeClr val="bg1"/>
        </a:solidFill>
        <a:effectLst/>
      </p:bgPr>
    </p:bg>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3E2DAA93-7C8C-4D51-93DF-15EE88B4A960}"/>
              </a:ext>
            </a:extLst>
          </p:cNvPr>
          <p:cNvSpPr>
            <a:spLocks noGrp="1"/>
          </p:cNvSpPr>
          <p:nvPr>
            <p:ph sz="quarter" idx="11"/>
          </p:nvPr>
        </p:nvSpPr>
        <p:spPr>
          <a:xfrm>
            <a:off x="628651"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6" name="Platshållare för innehåll 3">
            <a:extLst>
              <a:ext uri="{FF2B5EF4-FFF2-40B4-BE49-F238E27FC236}">
                <a16:creationId xmlns:a16="http://schemas.microsoft.com/office/drawing/2014/main" id="{080DDE41-53B5-421A-9E94-B341E8631D9B}"/>
              </a:ext>
            </a:extLst>
          </p:cNvPr>
          <p:cNvSpPr>
            <a:spLocks noGrp="1"/>
          </p:cNvSpPr>
          <p:nvPr>
            <p:ph sz="quarter" idx="12"/>
          </p:nvPr>
        </p:nvSpPr>
        <p:spPr>
          <a:xfrm>
            <a:off x="5633788" y="1719263"/>
            <a:ext cx="4649202" cy="4039853"/>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7610598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chemeClr val="bg1"/>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tx2"/>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215041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ild till vänster">
    <p:bg>
      <p:bgPr>
        <a:solidFill>
          <a:schemeClr val="bg1"/>
        </a:solidFill>
        <a:effectLst/>
      </p:bgPr>
    </p:bg>
    <p:spTree>
      <p:nvGrpSpPr>
        <p:cNvPr id="1" name=""/>
        <p:cNvGrpSpPr/>
        <p:nvPr/>
      </p:nvGrpSpPr>
      <p:grpSpPr>
        <a:xfrm>
          <a:off x="0" y="0"/>
          <a:ext cx="0" cy="0"/>
          <a:chOff x="0" y="0"/>
          <a:chExt cx="0" cy="0"/>
        </a:xfrm>
      </p:grpSpPr>
      <p:sp>
        <p:nvSpPr>
          <p:cNvPr id="6" name="Platshållare för bild 5">
            <a:extLst>
              <a:ext uri="{FF2B5EF4-FFF2-40B4-BE49-F238E27FC236}">
                <a16:creationId xmlns:a16="http://schemas.microsoft.com/office/drawing/2014/main" id="{E5368555-1434-4513-B4A0-A0D3F34EC883}"/>
              </a:ext>
            </a:extLst>
          </p:cNvPr>
          <p:cNvSpPr>
            <a:spLocks noGrp="1"/>
          </p:cNvSpPr>
          <p:nvPr>
            <p:ph type="pic" sz="quarter" idx="11"/>
          </p:nvPr>
        </p:nvSpPr>
        <p:spPr>
          <a:xfrm>
            <a:off x="0" y="0"/>
            <a:ext cx="6096000" cy="6882063"/>
          </a:xfrm>
          <a:solidFill>
            <a:schemeClr val="accent6">
              <a:lumMod val="60000"/>
              <a:lumOff val="40000"/>
            </a:schemeClr>
          </a:solidFill>
        </p:spPr>
        <p:txBody>
          <a:bodyPr lIns="252000" tIns="144000" rIns="72000">
            <a:normAutofit/>
          </a:bodyPr>
          <a:lstStyle>
            <a:lvl1pPr marL="0" indent="0">
              <a:buNone/>
              <a:defRPr sz="1600"/>
            </a:lvl1pPr>
          </a:lstStyle>
          <a:p>
            <a:r>
              <a:rPr lang="sv-SE"/>
              <a:t>Klicka på ikonen för att lägga till en bild</a:t>
            </a:r>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5727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572794" y="239181"/>
            <a:ext cx="5058583" cy="1325563"/>
          </a:xfrm>
        </p:spPr>
        <p:txBody>
          <a:bodyPr/>
          <a:lstStyle>
            <a:lvl1pPr>
              <a:defRPr>
                <a:solidFill>
                  <a:schemeClr val="tx2"/>
                </a:solidFill>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2922542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ild till höger">
    <p:bg>
      <p:bgPr>
        <a:solidFill>
          <a:schemeClr val="bg1"/>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accent2">
              <a:alpha val="84000"/>
            </a:schemeClr>
          </a:solidFill>
        </p:spPr>
        <p:txBody>
          <a:bodyPr>
            <a:normAutofit/>
          </a:bodyPr>
          <a:lstStyle>
            <a:lvl1pPr marL="0" indent="0">
              <a:buNone/>
              <a:defRPr sz="1600">
                <a:solidFill>
                  <a:schemeClr val="bg1"/>
                </a:solidFill>
              </a:defRPr>
            </a:lvl1pPr>
          </a:lstStyle>
          <a:p>
            <a:r>
              <a:rPr lang="sv-SE" dirty="0"/>
              <a:t>Klicka på ikonen för att lägga till en bild</a:t>
            </a:r>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tx2"/>
                </a:solidFill>
              </a:defRPr>
            </a:lvl1pPr>
          </a:lstStyle>
          <a:p>
            <a:r>
              <a:rPr lang="sv-SE" dirty="0"/>
              <a:t>Rubrik</a:t>
            </a:r>
            <a:br>
              <a:rPr lang="sv-SE" dirty="0"/>
            </a:br>
            <a:r>
              <a:rPr lang="sv-SE" dirty="0"/>
              <a:t>2 rader</a:t>
            </a:r>
          </a:p>
        </p:txBody>
      </p:sp>
      <p:pic>
        <p:nvPicPr>
          <p:cNvPr id="7" name="Bildobjekt 6">
            <a:extLst>
              <a:ext uri="{FF2B5EF4-FFF2-40B4-BE49-F238E27FC236}">
                <a16:creationId xmlns:a16="http://schemas.microsoft.com/office/drawing/2014/main" id="{D035530D-EC0A-4A8F-AB0F-982880DFDF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82E62618-C8F3-498A-A987-94B31979706D}"/>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7300791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192524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itat">
    <p:bg>
      <p:bgPr>
        <a:solidFill>
          <a:schemeClr val="bg1"/>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sv-SE" dirty="0"/>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tx2"/>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3818721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chemeClr val="bg1"/>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2"/>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23291624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37319166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7714C67F-4F66-4075-8B48-4C7BCD8611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3866946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vslutningsbild">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62E9DD8D-881E-40DC-BF61-D608435DC8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30065" y="1427607"/>
            <a:ext cx="3531870" cy="4002786"/>
          </a:xfrm>
          <a:prstGeom prst="rect">
            <a:avLst/>
          </a:prstGeom>
        </p:spPr>
      </p:pic>
    </p:spTree>
    <p:extLst>
      <p:ext uri="{BB962C8B-B14F-4D97-AF65-F5344CB8AC3E}">
        <p14:creationId xmlns:p14="http://schemas.microsoft.com/office/powerpoint/2010/main" val="2112322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 till höger">
    <p:bg>
      <p:bgPr>
        <a:solidFill>
          <a:schemeClr val="bg1"/>
        </a:solidFill>
        <a:effectLst/>
      </p:bgPr>
    </p:bg>
    <p:spTree>
      <p:nvGrpSpPr>
        <p:cNvPr id="1" name=""/>
        <p:cNvGrpSpPr/>
        <p:nvPr/>
      </p:nvGrpSpPr>
      <p:grpSpPr>
        <a:xfrm>
          <a:off x="0" y="0"/>
          <a:ext cx="0" cy="0"/>
          <a:chOff x="0" y="0"/>
          <a:chExt cx="0" cy="0"/>
        </a:xfrm>
      </p:grpSpPr>
      <p:sp>
        <p:nvSpPr>
          <p:cNvPr id="8" name="Rektangel: diagonala rundade hörn 4">
            <a:extLst>
              <a:ext uri="{FF2B5EF4-FFF2-40B4-BE49-F238E27FC236}">
                <a16:creationId xmlns:a16="http://schemas.microsoft.com/office/drawing/2014/main" id="{E7008C88-C1C1-4F6D-8A76-1E0E454A1DE5}"/>
              </a:ext>
            </a:extLst>
          </p:cNvPr>
          <p:cNvSpPr/>
          <p:nvPr userDrawn="1"/>
        </p:nvSpPr>
        <p:spPr>
          <a:xfrm>
            <a:off x="9271347" y="445079"/>
            <a:ext cx="2954242" cy="6461772"/>
          </a:xfrm>
          <a:custGeom>
            <a:avLst/>
            <a:gdLst>
              <a:gd name="connsiteX0" fmla="*/ 0 w 7476308"/>
              <a:gd name="connsiteY0" fmla="*/ 0 h 7597733"/>
              <a:gd name="connsiteX1" fmla="*/ 3970966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78147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0 w 7476308"/>
              <a:gd name="connsiteY6" fmla="*/ 4092391 h 7597733"/>
              <a:gd name="connsiteX7" fmla="*/ 0 w 7476308"/>
              <a:gd name="connsiteY7" fmla="*/ 0 h 7597733"/>
              <a:gd name="connsiteX8" fmla="*/ 0 w 7476308"/>
              <a:gd name="connsiteY8"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505342 w 7476308"/>
              <a:gd name="connsiteY5" fmla="*/ 7597733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317452 w 7476308"/>
              <a:gd name="connsiteY5" fmla="*/ 6858697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476308 w 7476308"/>
              <a:gd name="connsiteY4" fmla="*/ 7597733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4670477 w 7476308"/>
              <a:gd name="connsiteY4" fmla="*/ 4428648 h 7597733"/>
              <a:gd name="connsiteX5" fmla="*/ 3730810 w 7476308"/>
              <a:gd name="connsiteY5" fmla="*/ 6633229 h 7597733"/>
              <a:gd name="connsiteX6" fmla="*/ 937363 w 7476308"/>
              <a:gd name="connsiteY6" fmla="*/ 6502958 h 7597733"/>
              <a:gd name="connsiteX7" fmla="*/ 0 w 7476308"/>
              <a:gd name="connsiteY7" fmla="*/ 4092391 h 7597733"/>
              <a:gd name="connsiteX8" fmla="*/ 0 w 7476308"/>
              <a:gd name="connsiteY8" fmla="*/ 0 h 7597733"/>
              <a:gd name="connsiteX9" fmla="*/ 0 w 7476308"/>
              <a:gd name="connsiteY9"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7175325 w 7476308"/>
              <a:gd name="connsiteY4" fmla="*/ 732967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597733"/>
              <a:gd name="connsiteX1" fmla="*/ 2897099 w 7476308"/>
              <a:gd name="connsiteY1" fmla="*/ 0 h 7597733"/>
              <a:gd name="connsiteX2" fmla="*/ 7476308 w 7476308"/>
              <a:gd name="connsiteY2" fmla="*/ 3505342 h 7597733"/>
              <a:gd name="connsiteX3" fmla="*/ 7476308 w 7476308"/>
              <a:gd name="connsiteY3" fmla="*/ 7597733 h 7597733"/>
              <a:gd name="connsiteX4" fmla="*/ 5384103 w 7476308"/>
              <a:gd name="connsiteY4" fmla="*/ 6164756 h 7597733"/>
              <a:gd name="connsiteX5" fmla="*/ 4670477 w 7476308"/>
              <a:gd name="connsiteY5" fmla="*/ 4428648 h 7597733"/>
              <a:gd name="connsiteX6" fmla="*/ 3730810 w 7476308"/>
              <a:gd name="connsiteY6" fmla="*/ 6633229 h 7597733"/>
              <a:gd name="connsiteX7" fmla="*/ 937363 w 7476308"/>
              <a:gd name="connsiteY7" fmla="*/ 6502958 h 7597733"/>
              <a:gd name="connsiteX8" fmla="*/ 0 w 7476308"/>
              <a:gd name="connsiteY8" fmla="*/ 4092391 h 7597733"/>
              <a:gd name="connsiteX9" fmla="*/ 0 w 7476308"/>
              <a:gd name="connsiteY9" fmla="*/ 0 h 7597733"/>
              <a:gd name="connsiteX10" fmla="*/ 0 w 7476308"/>
              <a:gd name="connsiteY10" fmla="*/ 0 h 7597733"/>
              <a:gd name="connsiteX0" fmla="*/ 0 w 7476308"/>
              <a:gd name="connsiteY0" fmla="*/ 0 h 7603170"/>
              <a:gd name="connsiteX1" fmla="*/ 2897099 w 7476308"/>
              <a:gd name="connsiteY1" fmla="*/ 0 h 7603170"/>
              <a:gd name="connsiteX2" fmla="*/ 7476308 w 7476308"/>
              <a:gd name="connsiteY2" fmla="*/ 3505342 h 7603170"/>
              <a:gd name="connsiteX3" fmla="*/ 7476308 w 7476308"/>
              <a:gd name="connsiteY3" fmla="*/ 7597733 h 7603170"/>
              <a:gd name="connsiteX4" fmla="*/ 4670477 w 7476308"/>
              <a:gd name="connsiteY4" fmla="*/ 4428648 h 7603170"/>
              <a:gd name="connsiteX5" fmla="*/ 3730810 w 7476308"/>
              <a:gd name="connsiteY5" fmla="*/ 6633229 h 7603170"/>
              <a:gd name="connsiteX6" fmla="*/ 937363 w 7476308"/>
              <a:gd name="connsiteY6" fmla="*/ 6502958 h 7603170"/>
              <a:gd name="connsiteX7" fmla="*/ 0 w 7476308"/>
              <a:gd name="connsiteY7" fmla="*/ 4092391 h 7603170"/>
              <a:gd name="connsiteX8" fmla="*/ 0 w 7476308"/>
              <a:gd name="connsiteY8" fmla="*/ 0 h 7603170"/>
              <a:gd name="connsiteX9" fmla="*/ 0 w 7476308"/>
              <a:gd name="connsiteY9" fmla="*/ 0 h 7603170"/>
              <a:gd name="connsiteX0" fmla="*/ 0 w 7476308"/>
              <a:gd name="connsiteY0" fmla="*/ 0 h 6633229"/>
              <a:gd name="connsiteX1" fmla="*/ 2897099 w 7476308"/>
              <a:gd name="connsiteY1" fmla="*/ 0 h 6633229"/>
              <a:gd name="connsiteX2" fmla="*/ 7476308 w 7476308"/>
              <a:gd name="connsiteY2" fmla="*/ 3505342 h 6633229"/>
              <a:gd name="connsiteX3" fmla="*/ 4670477 w 7476308"/>
              <a:gd name="connsiteY3" fmla="*/ 4428648 h 6633229"/>
              <a:gd name="connsiteX4" fmla="*/ 3730810 w 7476308"/>
              <a:gd name="connsiteY4" fmla="*/ 6633229 h 6633229"/>
              <a:gd name="connsiteX5" fmla="*/ 937363 w 7476308"/>
              <a:gd name="connsiteY5" fmla="*/ 6502958 h 6633229"/>
              <a:gd name="connsiteX6" fmla="*/ 0 w 7476308"/>
              <a:gd name="connsiteY6" fmla="*/ 4092391 h 6633229"/>
              <a:gd name="connsiteX7" fmla="*/ 0 w 7476308"/>
              <a:gd name="connsiteY7" fmla="*/ 0 h 6633229"/>
              <a:gd name="connsiteX8" fmla="*/ 0 w 7476308"/>
              <a:gd name="connsiteY8" fmla="*/ 0 h 6633229"/>
              <a:gd name="connsiteX0" fmla="*/ 0 w 4670477"/>
              <a:gd name="connsiteY0" fmla="*/ 0 h 6633229"/>
              <a:gd name="connsiteX1" fmla="*/ 2897099 w 4670477"/>
              <a:gd name="connsiteY1" fmla="*/ 0 h 6633229"/>
              <a:gd name="connsiteX2" fmla="*/ 4670477 w 4670477"/>
              <a:gd name="connsiteY2" fmla="*/ 4428648 h 6633229"/>
              <a:gd name="connsiteX3" fmla="*/ 3730810 w 4670477"/>
              <a:gd name="connsiteY3" fmla="*/ 6633229 h 6633229"/>
              <a:gd name="connsiteX4" fmla="*/ 937363 w 4670477"/>
              <a:gd name="connsiteY4" fmla="*/ 6502958 h 6633229"/>
              <a:gd name="connsiteX5" fmla="*/ 0 w 4670477"/>
              <a:gd name="connsiteY5" fmla="*/ 4092391 h 6633229"/>
              <a:gd name="connsiteX6" fmla="*/ 0 w 4670477"/>
              <a:gd name="connsiteY6" fmla="*/ 0 h 6633229"/>
              <a:gd name="connsiteX7" fmla="*/ 0 w 4670477"/>
              <a:gd name="connsiteY7" fmla="*/ 0 h 6633229"/>
              <a:gd name="connsiteX0" fmla="*/ 0 w 3829368"/>
              <a:gd name="connsiteY0" fmla="*/ 0 h 6633229"/>
              <a:gd name="connsiteX1" fmla="*/ 2897099 w 3829368"/>
              <a:gd name="connsiteY1" fmla="*/ 0 h 6633229"/>
              <a:gd name="connsiteX2" fmla="*/ 3730810 w 3829368"/>
              <a:gd name="connsiteY2" fmla="*/ 6633229 h 6633229"/>
              <a:gd name="connsiteX3" fmla="*/ 937363 w 3829368"/>
              <a:gd name="connsiteY3" fmla="*/ 6502958 h 6633229"/>
              <a:gd name="connsiteX4" fmla="*/ 0 w 3829368"/>
              <a:gd name="connsiteY4" fmla="*/ 4092391 h 6633229"/>
              <a:gd name="connsiteX5" fmla="*/ 0 w 3829368"/>
              <a:gd name="connsiteY5" fmla="*/ 0 h 6633229"/>
              <a:gd name="connsiteX6" fmla="*/ 0 w 3829368"/>
              <a:gd name="connsiteY6" fmla="*/ 0 h 6633229"/>
              <a:gd name="connsiteX0" fmla="*/ 0 w 3789095"/>
              <a:gd name="connsiteY0" fmla="*/ 0 h 6633229"/>
              <a:gd name="connsiteX1" fmla="*/ 2897099 w 3789095"/>
              <a:gd name="connsiteY1" fmla="*/ 0 h 6633229"/>
              <a:gd name="connsiteX2" fmla="*/ 3730810 w 3789095"/>
              <a:gd name="connsiteY2" fmla="*/ 6633229 h 6633229"/>
              <a:gd name="connsiteX3" fmla="*/ 937363 w 3789095"/>
              <a:gd name="connsiteY3" fmla="*/ 6502958 h 6633229"/>
              <a:gd name="connsiteX4" fmla="*/ 0 w 3789095"/>
              <a:gd name="connsiteY4" fmla="*/ 4092391 h 6633229"/>
              <a:gd name="connsiteX5" fmla="*/ 0 w 3789095"/>
              <a:gd name="connsiteY5" fmla="*/ 0 h 6633229"/>
              <a:gd name="connsiteX6" fmla="*/ 0 w 3789095"/>
              <a:gd name="connsiteY6" fmla="*/ 0 h 6633229"/>
              <a:gd name="connsiteX0" fmla="*/ 0 w 3730810"/>
              <a:gd name="connsiteY0" fmla="*/ 0 h 6633229"/>
              <a:gd name="connsiteX1" fmla="*/ 2897099 w 3730810"/>
              <a:gd name="connsiteY1" fmla="*/ 0 h 6633229"/>
              <a:gd name="connsiteX2" fmla="*/ 3730810 w 3730810"/>
              <a:gd name="connsiteY2" fmla="*/ 6633229 h 6633229"/>
              <a:gd name="connsiteX3" fmla="*/ 937363 w 3730810"/>
              <a:gd name="connsiteY3" fmla="*/ 6502958 h 6633229"/>
              <a:gd name="connsiteX4" fmla="*/ 0 w 3730810"/>
              <a:gd name="connsiteY4" fmla="*/ 4092391 h 6633229"/>
              <a:gd name="connsiteX5" fmla="*/ 0 w 3730810"/>
              <a:gd name="connsiteY5" fmla="*/ 0 h 6633229"/>
              <a:gd name="connsiteX6" fmla="*/ 0 w 3730810"/>
              <a:gd name="connsiteY6" fmla="*/ 0 h 6633229"/>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502958"/>
              <a:gd name="connsiteX1" fmla="*/ 2897099 w 2954210"/>
              <a:gd name="connsiteY1" fmla="*/ 0 h 6502958"/>
              <a:gd name="connsiteX2" fmla="*/ 2954197 w 2954210"/>
              <a:gd name="connsiteY2" fmla="*/ 6457865 h 6502958"/>
              <a:gd name="connsiteX3" fmla="*/ 937363 w 2954210"/>
              <a:gd name="connsiteY3" fmla="*/ 6502958 h 6502958"/>
              <a:gd name="connsiteX4" fmla="*/ 0 w 2954210"/>
              <a:gd name="connsiteY4" fmla="*/ 4092391 h 6502958"/>
              <a:gd name="connsiteX5" fmla="*/ 0 w 2954210"/>
              <a:gd name="connsiteY5" fmla="*/ 0 h 6502958"/>
              <a:gd name="connsiteX6" fmla="*/ 0 w 2954210"/>
              <a:gd name="connsiteY6" fmla="*/ 0 h 6502958"/>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0"/>
              <a:gd name="connsiteY0" fmla="*/ 0 h 6457865"/>
              <a:gd name="connsiteX1" fmla="*/ 2897099 w 2954210"/>
              <a:gd name="connsiteY1" fmla="*/ 0 h 6457865"/>
              <a:gd name="connsiteX2" fmla="*/ 2954197 w 2954210"/>
              <a:gd name="connsiteY2" fmla="*/ 6457865 h 6457865"/>
              <a:gd name="connsiteX3" fmla="*/ 887259 w 2954210"/>
              <a:gd name="connsiteY3" fmla="*/ 6440328 h 6457865"/>
              <a:gd name="connsiteX4" fmla="*/ 0 w 2954210"/>
              <a:gd name="connsiteY4" fmla="*/ 4092391 h 6457865"/>
              <a:gd name="connsiteX5" fmla="*/ 0 w 2954210"/>
              <a:gd name="connsiteY5" fmla="*/ 0 h 6457865"/>
              <a:gd name="connsiteX6" fmla="*/ 0 w 2954210"/>
              <a:gd name="connsiteY6" fmla="*/ 0 h 6457865"/>
              <a:gd name="connsiteX0" fmla="*/ 0 w 2954214"/>
              <a:gd name="connsiteY0" fmla="*/ 0 h 6457865"/>
              <a:gd name="connsiteX1" fmla="*/ 2909625 w 2954214"/>
              <a:gd name="connsiteY1" fmla="*/ 0 h 6457865"/>
              <a:gd name="connsiteX2" fmla="*/ 2954197 w 2954214"/>
              <a:gd name="connsiteY2" fmla="*/ 6457865 h 6457865"/>
              <a:gd name="connsiteX3" fmla="*/ 887259 w 2954214"/>
              <a:gd name="connsiteY3" fmla="*/ 6440328 h 6457865"/>
              <a:gd name="connsiteX4" fmla="*/ 0 w 2954214"/>
              <a:gd name="connsiteY4" fmla="*/ 4092391 h 6457865"/>
              <a:gd name="connsiteX5" fmla="*/ 0 w 2954214"/>
              <a:gd name="connsiteY5" fmla="*/ 0 h 6457865"/>
              <a:gd name="connsiteX6" fmla="*/ 0 w 2954214"/>
              <a:gd name="connsiteY6" fmla="*/ 0 h 6457865"/>
              <a:gd name="connsiteX0" fmla="*/ 0 w 2954242"/>
              <a:gd name="connsiteY0" fmla="*/ 3907 h 6461772"/>
              <a:gd name="connsiteX1" fmla="*/ 2933071 w 2954242"/>
              <a:gd name="connsiteY1" fmla="*/ 0 h 6461772"/>
              <a:gd name="connsiteX2" fmla="*/ 2954197 w 2954242"/>
              <a:gd name="connsiteY2" fmla="*/ 6461772 h 6461772"/>
              <a:gd name="connsiteX3" fmla="*/ 887259 w 2954242"/>
              <a:gd name="connsiteY3" fmla="*/ 6444235 h 6461772"/>
              <a:gd name="connsiteX4" fmla="*/ 0 w 2954242"/>
              <a:gd name="connsiteY4" fmla="*/ 4096298 h 6461772"/>
              <a:gd name="connsiteX5" fmla="*/ 0 w 2954242"/>
              <a:gd name="connsiteY5" fmla="*/ 3907 h 6461772"/>
              <a:gd name="connsiteX6" fmla="*/ 0 w 2954242"/>
              <a:gd name="connsiteY6" fmla="*/ 3907 h 646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4242" h="6461772">
                <a:moveTo>
                  <a:pt x="0" y="3907"/>
                </a:moveTo>
                <a:lnTo>
                  <a:pt x="2933071" y="0"/>
                </a:lnTo>
                <a:cubicBezTo>
                  <a:pt x="2941098" y="15774"/>
                  <a:pt x="2955144" y="6430132"/>
                  <a:pt x="2954197" y="6461772"/>
                </a:cubicBezTo>
                <a:cubicBezTo>
                  <a:pt x="2941612" y="6442148"/>
                  <a:pt x="920338" y="6439735"/>
                  <a:pt x="887259" y="6444235"/>
                </a:cubicBezTo>
                <a:cubicBezTo>
                  <a:pt x="252931" y="5747277"/>
                  <a:pt x="118649" y="5330437"/>
                  <a:pt x="0" y="4096298"/>
                </a:cubicBezTo>
                <a:lnTo>
                  <a:pt x="0" y="3907"/>
                </a:lnTo>
                <a:lnTo>
                  <a:pt x="0" y="390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Platshållare för bild 3">
            <a:extLst>
              <a:ext uri="{FF2B5EF4-FFF2-40B4-BE49-F238E27FC236}">
                <a16:creationId xmlns:a16="http://schemas.microsoft.com/office/drawing/2014/main" id="{BF308462-1899-4B44-85C4-E857B1EAA405}"/>
              </a:ext>
              <a:ext uri="{C183D7F6-B498-43B3-948B-1728B52AA6E4}">
                <adec:decorative xmlns:adec="http://schemas.microsoft.com/office/drawing/2017/decorative" val="1"/>
              </a:ext>
            </a:extLst>
          </p:cNvPr>
          <p:cNvSpPr>
            <a:spLocks noGrp="1"/>
          </p:cNvSpPr>
          <p:nvPr>
            <p:ph type="pic" sz="quarter" idx="11"/>
          </p:nvPr>
        </p:nvSpPr>
        <p:spPr>
          <a:xfrm rot="549817">
            <a:off x="6792696" y="790836"/>
            <a:ext cx="4279113" cy="4568015"/>
          </a:xfrm>
          <a:prstGeom prst="round2DiagRect">
            <a:avLst>
              <a:gd name="adj1" fmla="val 43413"/>
              <a:gd name="adj2" fmla="val 0"/>
            </a:avLst>
          </a:prstGeom>
          <a:solidFill>
            <a:schemeClr val="accent4">
              <a:alpha val="84000"/>
            </a:schemeClr>
          </a:solidFill>
        </p:spPr>
        <p:txBody>
          <a:bodyPr>
            <a:normAutofit/>
          </a:bodyPr>
          <a:lstStyle>
            <a:lvl1pPr marL="0" indent="0">
              <a:buNone/>
              <a:defRPr sz="1600">
                <a:solidFill>
                  <a:schemeClr val="bg1"/>
                </a:solidFill>
              </a:defRPr>
            </a:lvl1pPr>
          </a:lstStyle>
          <a:p>
            <a:r>
              <a:rPr lang="sv-SE"/>
              <a:t>Klicka på ikonen för att lägga till en bild</a:t>
            </a:r>
            <a:endParaRPr lang="sv-SE" dirty="0"/>
          </a:p>
        </p:txBody>
      </p:sp>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20800"/>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25574"/>
            <a:ext cx="5058583" cy="1325563"/>
          </a:xfrm>
        </p:spPr>
        <p:txBody>
          <a:bodyPr/>
          <a:lstStyle>
            <a:lvl1pPr>
              <a:defRPr>
                <a:solidFill>
                  <a:schemeClr val="tx2"/>
                </a:solidFill>
              </a:defRPr>
            </a:lvl1pPr>
          </a:lstStyle>
          <a:p>
            <a:r>
              <a:rPr lang="sv-SE" dirty="0"/>
              <a:t>Rubrik</a:t>
            </a:r>
            <a:br>
              <a:rPr lang="sv-SE" dirty="0"/>
            </a:br>
            <a:r>
              <a:rPr lang="sv-SE" dirty="0"/>
              <a:t>2 rader</a:t>
            </a:r>
          </a:p>
        </p:txBody>
      </p:sp>
      <p:pic>
        <p:nvPicPr>
          <p:cNvPr id="7" name="Bildobjekt 6">
            <a:extLst>
              <a:ext uri="{FF2B5EF4-FFF2-40B4-BE49-F238E27FC236}">
                <a16:creationId xmlns:a16="http://schemas.microsoft.com/office/drawing/2014/main" id="{D035530D-EC0A-4A8F-AB0F-982880DFDF8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
        <p:nvSpPr>
          <p:cNvPr id="9" name="textruta 8">
            <a:extLst>
              <a:ext uri="{FF2B5EF4-FFF2-40B4-BE49-F238E27FC236}">
                <a16:creationId xmlns:a16="http://schemas.microsoft.com/office/drawing/2014/main" id="{82E62618-C8F3-498A-A987-94B31979706D}"/>
              </a:ext>
            </a:extLst>
          </p:cNvPr>
          <p:cNvSpPr txBox="1"/>
          <p:nvPr userDrawn="1"/>
        </p:nvSpPr>
        <p:spPr>
          <a:xfrm>
            <a:off x="9328298" y="-1309051"/>
            <a:ext cx="2819400" cy="1200329"/>
          </a:xfrm>
          <a:prstGeom prst="rect">
            <a:avLst/>
          </a:prstGeom>
          <a:solidFill>
            <a:schemeClr val="tx2"/>
          </a:solidFill>
        </p:spPr>
        <p:txBody>
          <a:bodyPr wrap="square" rtlCol="0">
            <a:spAutoFit/>
          </a:bodyPr>
          <a:lstStyle/>
          <a:p>
            <a:r>
              <a:rPr lang="sv-SE" sz="1200" b="1" dirty="0">
                <a:solidFill>
                  <a:schemeClr val="bg1"/>
                </a:solidFill>
                <a:latin typeface="Arial" panose="020B0604020202020204" pitchFamily="34" charset="0"/>
                <a:cs typeface="Arial" panose="020B0604020202020204" pitchFamily="34" charset="0"/>
              </a:rPr>
              <a:t>Lägg till en bild i bladet:</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Klicka på symbolen –välj foto – infoga. </a:t>
            </a:r>
            <a:br>
              <a:rPr lang="sv-SE" sz="1200" dirty="0">
                <a:solidFill>
                  <a:schemeClr val="bg1"/>
                </a:solidFill>
                <a:latin typeface="Arial" panose="020B0604020202020204" pitchFamily="34" charset="0"/>
                <a:cs typeface="Arial" panose="020B0604020202020204" pitchFamily="34" charset="0"/>
              </a:rPr>
            </a:br>
            <a:r>
              <a:rPr lang="sv-SE" sz="1200" dirty="0">
                <a:solidFill>
                  <a:schemeClr val="bg1"/>
                </a:solidFill>
                <a:latin typeface="Arial" panose="020B0604020202020204" pitchFamily="34" charset="0"/>
                <a:cs typeface="Arial" panose="020B0604020202020204" pitchFamily="34" charset="0"/>
              </a:rPr>
              <a:t>Ibland behöver man beskära fotot så att det fyller ut ytan. Ha fotot markerat – klicka på ”bildformat” – beskär – testa med ”anpassa” och ”fyll”.</a:t>
            </a:r>
          </a:p>
        </p:txBody>
      </p:sp>
    </p:spTree>
    <p:extLst>
      <p:ext uri="{BB962C8B-B14F-4D97-AF65-F5344CB8AC3E}">
        <p14:creationId xmlns:p14="http://schemas.microsoft.com/office/powerpoint/2010/main" val="1435874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Avsnitts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EA76ECA-CF40-4A60-B309-60280244B606}"/>
              </a:ext>
            </a:extLst>
          </p:cNvPr>
          <p:cNvSpPr>
            <a:spLocks noGrp="1"/>
          </p:cNvSpPr>
          <p:nvPr>
            <p:ph type="ctrTitle" hasCustomPrompt="1"/>
          </p:nvPr>
        </p:nvSpPr>
        <p:spPr>
          <a:xfrm>
            <a:off x="819151" y="2140535"/>
            <a:ext cx="5712278" cy="2387600"/>
          </a:xfrm>
        </p:spPr>
        <p:txBody>
          <a:bodyPr anchor="t" anchorCtr="0"/>
          <a:lstStyle>
            <a:lvl1pPr algn="l">
              <a:defRPr sz="5200">
                <a:solidFill>
                  <a:schemeClr val="tx2"/>
                </a:solidFill>
              </a:defRPr>
            </a:lvl1pPr>
          </a:lstStyle>
          <a:p>
            <a:r>
              <a:rPr lang="sv-SE" dirty="0"/>
              <a:t>rubrik</a:t>
            </a:r>
          </a:p>
        </p:txBody>
      </p:sp>
      <p:sp>
        <p:nvSpPr>
          <p:cNvPr id="3" name="Underrubrik 2">
            <a:extLst>
              <a:ext uri="{FF2B5EF4-FFF2-40B4-BE49-F238E27FC236}">
                <a16:creationId xmlns:a16="http://schemas.microsoft.com/office/drawing/2014/main" id="{E68F530B-6E96-46BC-BBCC-51B064E6AC28}"/>
              </a:ext>
            </a:extLst>
          </p:cNvPr>
          <p:cNvSpPr>
            <a:spLocks noGrp="1"/>
          </p:cNvSpPr>
          <p:nvPr>
            <p:ph type="subTitle" idx="1" hasCustomPrompt="1"/>
          </p:nvPr>
        </p:nvSpPr>
        <p:spPr>
          <a:xfrm>
            <a:off x="819151" y="1442076"/>
            <a:ext cx="5711548" cy="474662"/>
          </a:xfrm>
        </p:spPr>
        <p:txBody>
          <a:bodyPr/>
          <a:lstStyle>
            <a:lvl1pPr marL="0" indent="0" algn="l">
              <a:buNone/>
              <a:defRPr sz="2700" cap="all" baseline="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avsnitt</a:t>
            </a:r>
          </a:p>
        </p:txBody>
      </p:sp>
    </p:spTree>
    <p:extLst>
      <p:ext uri="{BB962C8B-B14F-4D97-AF65-F5344CB8AC3E}">
        <p14:creationId xmlns:p14="http://schemas.microsoft.com/office/powerpoint/2010/main" val="4080508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itat">
    <p:bg>
      <p:bgPr>
        <a:solidFill>
          <a:schemeClr val="bg1"/>
        </a:solidFill>
        <a:effectLst/>
      </p:bgPr>
    </p:bg>
    <p:spTree>
      <p:nvGrpSpPr>
        <p:cNvPr id="1" name=""/>
        <p:cNvGrpSpPr/>
        <p:nvPr/>
      </p:nvGrpSpPr>
      <p:grpSpPr>
        <a:xfrm>
          <a:off x="0" y="0"/>
          <a:ext cx="0" cy="0"/>
          <a:chOff x="0" y="0"/>
          <a:chExt cx="0" cy="0"/>
        </a:xfrm>
      </p:grpSpPr>
      <p:sp>
        <p:nvSpPr>
          <p:cNvPr id="15" name="Freeform 9">
            <a:extLst>
              <a:ext uri="{FF2B5EF4-FFF2-40B4-BE49-F238E27FC236}">
                <a16:creationId xmlns:a16="http://schemas.microsoft.com/office/drawing/2014/main" id="{1709AE4F-DE07-4194-9808-48C512EAA1A1}"/>
              </a:ext>
            </a:extLst>
          </p:cNvPr>
          <p:cNvSpPr>
            <a:spLocks noEditPoints="1"/>
          </p:cNvSpPr>
          <p:nvPr userDrawn="1"/>
        </p:nvSpPr>
        <p:spPr bwMode="auto">
          <a:xfrm>
            <a:off x="723900" y="823913"/>
            <a:ext cx="2038350" cy="1652587"/>
          </a:xfrm>
          <a:custGeom>
            <a:avLst/>
            <a:gdLst>
              <a:gd name="T0" fmla="*/ 212 w 1284"/>
              <a:gd name="T1" fmla="*/ 1035 h 1041"/>
              <a:gd name="T2" fmla="*/ 250 w 1284"/>
              <a:gd name="T3" fmla="*/ 1037 h 1041"/>
              <a:gd name="T4" fmla="*/ 306 w 1284"/>
              <a:gd name="T5" fmla="*/ 995 h 1041"/>
              <a:gd name="T6" fmla="*/ 432 w 1284"/>
              <a:gd name="T7" fmla="*/ 863 h 1041"/>
              <a:gd name="T8" fmla="*/ 532 w 1284"/>
              <a:gd name="T9" fmla="*/ 697 h 1041"/>
              <a:gd name="T10" fmla="*/ 580 w 1284"/>
              <a:gd name="T11" fmla="*/ 533 h 1041"/>
              <a:gd name="T12" fmla="*/ 592 w 1284"/>
              <a:gd name="T13" fmla="*/ 404 h 1041"/>
              <a:gd name="T14" fmla="*/ 574 w 1284"/>
              <a:gd name="T15" fmla="*/ 254 h 1041"/>
              <a:gd name="T16" fmla="*/ 506 w 1284"/>
              <a:gd name="T17" fmla="*/ 114 h 1041"/>
              <a:gd name="T18" fmla="*/ 408 w 1284"/>
              <a:gd name="T19" fmla="*/ 34 h 1041"/>
              <a:gd name="T20" fmla="*/ 300 w 1284"/>
              <a:gd name="T21" fmla="*/ 2 h 1041"/>
              <a:gd name="T22" fmla="*/ 218 w 1284"/>
              <a:gd name="T23" fmla="*/ 6 h 1041"/>
              <a:gd name="T24" fmla="*/ 118 w 1284"/>
              <a:gd name="T25" fmla="*/ 44 h 1041"/>
              <a:gd name="T26" fmla="*/ 46 w 1284"/>
              <a:gd name="T27" fmla="*/ 112 h 1041"/>
              <a:gd name="T28" fmla="*/ 6 w 1284"/>
              <a:gd name="T29" fmla="*/ 202 h 1041"/>
              <a:gd name="T30" fmla="*/ 2 w 1284"/>
              <a:gd name="T31" fmla="*/ 278 h 1041"/>
              <a:gd name="T32" fmla="*/ 32 w 1284"/>
              <a:gd name="T33" fmla="*/ 370 h 1041"/>
              <a:gd name="T34" fmla="*/ 92 w 1284"/>
              <a:gd name="T35" fmla="*/ 442 h 1041"/>
              <a:gd name="T36" fmla="*/ 178 w 1284"/>
              <a:gd name="T37" fmla="*/ 488 h 1041"/>
              <a:gd name="T38" fmla="*/ 250 w 1284"/>
              <a:gd name="T39" fmla="*/ 498 h 1041"/>
              <a:gd name="T40" fmla="*/ 350 w 1284"/>
              <a:gd name="T41" fmla="*/ 486 h 1041"/>
              <a:gd name="T42" fmla="*/ 386 w 1284"/>
              <a:gd name="T43" fmla="*/ 518 h 1041"/>
              <a:gd name="T44" fmla="*/ 338 w 1284"/>
              <a:gd name="T45" fmla="*/ 669 h 1041"/>
              <a:gd name="T46" fmla="*/ 258 w 1284"/>
              <a:gd name="T47" fmla="*/ 785 h 1041"/>
              <a:gd name="T48" fmla="*/ 144 w 1284"/>
              <a:gd name="T49" fmla="*/ 891 h 1041"/>
              <a:gd name="T50" fmla="*/ 126 w 1284"/>
              <a:gd name="T51" fmla="*/ 915 h 1041"/>
              <a:gd name="T52" fmla="*/ 132 w 1284"/>
              <a:gd name="T53" fmla="*/ 957 h 1041"/>
              <a:gd name="T54" fmla="*/ 884 w 1284"/>
              <a:gd name="T55" fmla="*/ 1019 h 1041"/>
              <a:gd name="T56" fmla="*/ 924 w 1284"/>
              <a:gd name="T57" fmla="*/ 1041 h 1041"/>
              <a:gd name="T58" fmla="*/ 960 w 1284"/>
              <a:gd name="T59" fmla="*/ 1025 h 1041"/>
              <a:gd name="T60" fmla="*/ 1070 w 1284"/>
              <a:gd name="T61" fmla="*/ 925 h 1041"/>
              <a:gd name="T62" fmla="*/ 1178 w 1284"/>
              <a:gd name="T63" fmla="*/ 787 h 1041"/>
              <a:gd name="T64" fmla="*/ 1260 w 1284"/>
              <a:gd name="T65" fmla="*/ 591 h 1041"/>
              <a:gd name="T66" fmla="*/ 1280 w 1284"/>
              <a:gd name="T67" fmla="*/ 470 h 1041"/>
              <a:gd name="T68" fmla="*/ 1282 w 1284"/>
              <a:gd name="T69" fmla="*/ 350 h 1041"/>
              <a:gd name="T70" fmla="*/ 1236 w 1284"/>
              <a:gd name="T71" fmla="*/ 176 h 1041"/>
              <a:gd name="T72" fmla="*/ 1150 w 1284"/>
              <a:gd name="T73" fmla="*/ 68 h 1041"/>
              <a:gd name="T74" fmla="*/ 1046 w 1284"/>
              <a:gd name="T75" fmla="*/ 12 h 1041"/>
              <a:gd name="T76" fmla="*/ 968 w 1284"/>
              <a:gd name="T77" fmla="*/ 0 h 1041"/>
              <a:gd name="T78" fmla="*/ 856 w 1284"/>
              <a:gd name="T79" fmla="*/ 22 h 1041"/>
              <a:gd name="T80" fmla="*/ 770 w 1284"/>
              <a:gd name="T81" fmla="*/ 76 h 1041"/>
              <a:gd name="T82" fmla="*/ 712 w 1284"/>
              <a:gd name="T83" fmla="*/ 154 h 1041"/>
              <a:gd name="T84" fmla="*/ 692 w 1284"/>
              <a:gd name="T85" fmla="*/ 252 h 1041"/>
              <a:gd name="T86" fmla="*/ 704 w 1284"/>
              <a:gd name="T87" fmla="*/ 326 h 1041"/>
              <a:gd name="T88" fmla="*/ 750 w 1284"/>
              <a:gd name="T89" fmla="*/ 410 h 1041"/>
              <a:gd name="T90" fmla="*/ 824 w 1284"/>
              <a:gd name="T91" fmla="*/ 468 h 1041"/>
              <a:gd name="T92" fmla="*/ 918 w 1284"/>
              <a:gd name="T93" fmla="*/ 496 h 1041"/>
              <a:gd name="T94" fmla="*/ 998 w 1284"/>
              <a:gd name="T95" fmla="*/ 494 h 1041"/>
              <a:gd name="T96" fmla="*/ 1082 w 1284"/>
              <a:gd name="T97" fmla="*/ 474 h 1041"/>
              <a:gd name="T98" fmla="*/ 1062 w 1284"/>
              <a:gd name="T99" fmla="*/ 597 h 1041"/>
              <a:gd name="T100" fmla="*/ 992 w 1284"/>
              <a:gd name="T101" fmla="*/ 731 h 1041"/>
              <a:gd name="T102" fmla="*/ 890 w 1284"/>
              <a:gd name="T103" fmla="*/ 847 h 1041"/>
              <a:gd name="T104" fmla="*/ 828 w 1284"/>
              <a:gd name="T105" fmla="*/ 897 h 1041"/>
              <a:gd name="T106" fmla="*/ 816 w 1284"/>
              <a:gd name="T107" fmla="*/ 935 h 1041"/>
              <a:gd name="T108" fmla="*/ 884 w 1284"/>
              <a:gd name="T109" fmla="*/ 1019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4" h="1041">
                <a:moveTo>
                  <a:pt x="192" y="1019"/>
                </a:moveTo>
                <a:lnTo>
                  <a:pt x="192" y="1019"/>
                </a:lnTo>
                <a:lnTo>
                  <a:pt x="202" y="1029"/>
                </a:lnTo>
                <a:lnTo>
                  <a:pt x="212" y="1035"/>
                </a:lnTo>
                <a:lnTo>
                  <a:pt x="222" y="1039"/>
                </a:lnTo>
                <a:lnTo>
                  <a:pt x="232" y="1041"/>
                </a:lnTo>
                <a:lnTo>
                  <a:pt x="240" y="1039"/>
                </a:lnTo>
                <a:lnTo>
                  <a:pt x="250" y="1037"/>
                </a:lnTo>
                <a:lnTo>
                  <a:pt x="260" y="1031"/>
                </a:lnTo>
                <a:lnTo>
                  <a:pt x="268" y="1025"/>
                </a:lnTo>
                <a:lnTo>
                  <a:pt x="268" y="1025"/>
                </a:lnTo>
                <a:lnTo>
                  <a:pt x="306" y="995"/>
                </a:lnTo>
                <a:lnTo>
                  <a:pt x="352" y="951"/>
                </a:lnTo>
                <a:lnTo>
                  <a:pt x="378" y="925"/>
                </a:lnTo>
                <a:lnTo>
                  <a:pt x="406" y="895"/>
                </a:lnTo>
                <a:lnTo>
                  <a:pt x="432" y="863"/>
                </a:lnTo>
                <a:lnTo>
                  <a:pt x="460" y="827"/>
                </a:lnTo>
                <a:lnTo>
                  <a:pt x="486" y="787"/>
                </a:lnTo>
                <a:lnTo>
                  <a:pt x="510" y="743"/>
                </a:lnTo>
                <a:lnTo>
                  <a:pt x="532" y="697"/>
                </a:lnTo>
                <a:lnTo>
                  <a:pt x="552" y="645"/>
                </a:lnTo>
                <a:lnTo>
                  <a:pt x="568" y="591"/>
                </a:lnTo>
                <a:lnTo>
                  <a:pt x="576" y="561"/>
                </a:lnTo>
                <a:lnTo>
                  <a:pt x="580" y="533"/>
                </a:lnTo>
                <a:lnTo>
                  <a:pt x="586" y="502"/>
                </a:lnTo>
                <a:lnTo>
                  <a:pt x="588" y="470"/>
                </a:lnTo>
                <a:lnTo>
                  <a:pt x="590" y="438"/>
                </a:lnTo>
                <a:lnTo>
                  <a:pt x="592" y="404"/>
                </a:lnTo>
                <a:lnTo>
                  <a:pt x="592" y="404"/>
                </a:lnTo>
                <a:lnTo>
                  <a:pt x="590" y="350"/>
                </a:lnTo>
                <a:lnTo>
                  <a:pt x="584" y="300"/>
                </a:lnTo>
                <a:lnTo>
                  <a:pt x="574" y="254"/>
                </a:lnTo>
                <a:lnTo>
                  <a:pt x="560" y="214"/>
                </a:lnTo>
                <a:lnTo>
                  <a:pt x="544" y="176"/>
                </a:lnTo>
                <a:lnTo>
                  <a:pt x="526" y="144"/>
                </a:lnTo>
                <a:lnTo>
                  <a:pt x="506" y="114"/>
                </a:lnTo>
                <a:lnTo>
                  <a:pt x="482" y="90"/>
                </a:lnTo>
                <a:lnTo>
                  <a:pt x="458" y="68"/>
                </a:lnTo>
                <a:lnTo>
                  <a:pt x="434" y="48"/>
                </a:lnTo>
                <a:lnTo>
                  <a:pt x="408" y="34"/>
                </a:lnTo>
                <a:lnTo>
                  <a:pt x="380" y="22"/>
                </a:lnTo>
                <a:lnTo>
                  <a:pt x="354" y="12"/>
                </a:lnTo>
                <a:lnTo>
                  <a:pt x="326" y="6"/>
                </a:lnTo>
                <a:lnTo>
                  <a:pt x="300" y="2"/>
                </a:lnTo>
                <a:lnTo>
                  <a:pt x="276" y="0"/>
                </a:lnTo>
                <a:lnTo>
                  <a:pt x="276" y="0"/>
                </a:lnTo>
                <a:lnTo>
                  <a:pt x="246" y="2"/>
                </a:lnTo>
                <a:lnTo>
                  <a:pt x="218" y="6"/>
                </a:lnTo>
                <a:lnTo>
                  <a:pt x="190" y="12"/>
                </a:lnTo>
                <a:lnTo>
                  <a:pt x="164" y="22"/>
                </a:lnTo>
                <a:lnTo>
                  <a:pt x="140" y="32"/>
                </a:lnTo>
                <a:lnTo>
                  <a:pt x="118" y="44"/>
                </a:lnTo>
                <a:lnTo>
                  <a:pt x="98" y="58"/>
                </a:lnTo>
                <a:lnTo>
                  <a:pt x="78" y="76"/>
                </a:lnTo>
                <a:lnTo>
                  <a:pt x="60" y="94"/>
                </a:lnTo>
                <a:lnTo>
                  <a:pt x="46" y="112"/>
                </a:lnTo>
                <a:lnTo>
                  <a:pt x="32" y="134"/>
                </a:lnTo>
                <a:lnTo>
                  <a:pt x="20" y="154"/>
                </a:lnTo>
                <a:lnTo>
                  <a:pt x="12" y="178"/>
                </a:lnTo>
                <a:lnTo>
                  <a:pt x="6" y="202"/>
                </a:lnTo>
                <a:lnTo>
                  <a:pt x="2" y="226"/>
                </a:lnTo>
                <a:lnTo>
                  <a:pt x="0" y="252"/>
                </a:lnTo>
                <a:lnTo>
                  <a:pt x="0" y="252"/>
                </a:lnTo>
                <a:lnTo>
                  <a:pt x="2" y="278"/>
                </a:lnTo>
                <a:lnTo>
                  <a:pt x="6" y="302"/>
                </a:lnTo>
                <a:lnTo>
                  <a:pt x="12" y="326"/>
                </a:lnTo>
                <a:lnTo>
                  <a:pt x="20" y="348"/>
                </a:lnTo>
                <a:lnTo>
                  <a:pt x="32" y="370"/>
                </a:lnTo>
                <a:lnTo>
                  <a:pt x="44" y="390"/>
                </a:lnTo>
                <a:lnTo>
                  <a:pt x="58" y="410"/>
                </a:lnTo>
                <a:lnTo>
                  <a:pt x="74" y="426"/>
                </a:lnTo>
                <a:lnTo>
                  <a:pt x="92" y="442"/>
                </a:lnTo>
                <a:lnTo>
                  <a:pt x="112" y="456"/>
                </a:lnTo>
                <a:lnTo>
                  <a:pt x="132" y="468"/>
                </a:lnTo>
                <a:lnTo>
                  <a:pt x="154" y="480"/>
                </a:lnTo>
                <a:lnTo>
                  <a:pt x="178" y="488"/>
                </a:lnTo>
                <a:lnTo>
                  <a:pt x="202" y="494"/>
                </a:lnTo>
                <a:lnTo>
                  <a:pt x="226" y="496"/>
                </a:lnTo>
                <a:lnTo>
                  <a:pt x="250" y="498"/>
                </a:lnTo>
                <a:lnTo>
                  <a:pt x="250" y="498"/>
                </a:lnTo>
                <a:lnTo>
                  <a:pt x="280" y="498"/>
                </a:lnTo>
                <a:lnTo>
                  <a:pt x="306" y="494"/>
                </a:lnTo>
                <a:lnTo>
                  <a:pt x="330" y="490"/>
                </a:lnTo>
                <a:lnTo>
                  <a:pt x="350" y="486"/>
                </a:lnTo>
                <a:lnTo>
                  <a:pt x="380" y="478"/>
                </a:lnTo>
                <a:lnTo>
                  <a:pt x="390" y="474"/>
                </a:lnTo>
                <a:lnTo>
                  <a:pt x="390" y="474"/>
                </a:lnTo>
                <a:lnTo>
                  <a:pt x="386" y="518"/>
                </a:lnTo>
                <a:lnTo>
                  <a:pt x="380" y="557"/>
                </a:lnTo>
                <a:lnTo>
                  <a:pt x="370" y="597"/>
                </a:lnTo>
                <a:lnTo>
                  <a:pt x="356" y="633"/>
                </a:lnTo>
                <a:lnTo>
                  <a:pt x="338" y="669"/>
                </a:lnTo>
                <a:lnTo>
                  <a:pt x="320" y="701"/>
                </a:lnTo>
                <a:lnTo>
                  <a:pt x="300" y="731"/>
                </a:lnTo>
                <a:lnTo>
                  <a:pt x="280" y="759"/>
                </a:lnTo>
                <a:lnTo>
                  <a:pt x="258" y="785"/>
                </a:lnTo>
                <a:lnTo>
                  <a:pt x="238" y="809"/>
                </a:lnTo>
                <a:lnTo>
                  <a:pt x="198" y="847"/>
                </a:lnTo>
                <a:lnTo>
                  <a:pt x="164" y="873"/>
                </a:lnTo>
                <a:lnTo>
                  <a:pt x="144" y="891"/>
                </a:lnTo>
                <a:lnTo>
                  <a:pt x="144" y="891"/>
                </a:lnTo>
                <a:lnTo>
                  <a:pt x="136" y="897"/>
                </a:lnTo>
                <a:lnTo>
                  <a:pt x="130" y="905"/>
                </a:lnTo>
                <a:lnTo>
                  <a:pt x="126" y="915"/>
                </a:lnTo>
                <a:lnTo>
                  <a:pt x="124" y="925"/>
                </a:lnTo>
                <a:lnTo>
                  <a:pt x="124" y="935"/>
                </a:lnTo>
                <a:lnTo>
                  <a:pt x="126" y="945"/>
                </a:lnTo>
                <a:lnTo>
                  <a:pt x="132" y="957"/>
                </a:lnTo>
                <a:lnTo>
                  <a:pt x="140" y="967"/>
                </a:lnTo>
                <a:lnTo>
                  <a:pt x="192" y="1019"/>
                </a:lnTo>
                <a:close/>
                <a:moveTo>
                  <a:pt x="884" y="1019"/>
                </a:moveTo>
                <a:lnTo>
                  <a:pt x="884" y="1019"/>
                </a:lnTo>
                <a:lnTo>
                  <a:pt x="894" y="1029"/>
                </a:lnTo>
                <a:lnTo>
                  <a:pt x="904" y="1035"/>
                </a:lnTo>
                <a:lnTo>
                  <a:pt x="914" y="1039"/>
                </a:lnTo>
                <a:lnTo>
                  <a:pt x="924" y="1041"/>
                </a:lnTo>
                <a:lnTo>
                  <a:pt x="932" y="1039"/>
                </a:lnTo>
                <a:lnTo>
                  <a:pt x="942" y="1037"/>
                </a:lnTo>
                <a:lnTo>
                  <a:pt x="952" y="1031"/>
                </a:lnTo>
                <a:lnTo>
                  <a:pt x="960" y="1025"/>
                </a:lnTo>
                <a:lnTo>
                  <a:pt x="960" y="1025"/>
                </a:lnTo>
                <a:lnTo>
                  <a:pt x="998" y="995"/>
                </a:lnTo>
                <a:lnTo>
                  <a:pt x="1044" y="951"/>
                </a:lnTo>
                <a:lnTo>
                  <a:pt x="1070" y="925"/>
                </a:lnTo>
                <a:lnTo>
                  <a:pt x="1098" y="895"/>
                </a:lnTo>
                <a:lnTo>
                  <a:pt x="1124" y="863"/>
                </a:lnTo>
                <a:lnTo>
                  <a:pt x="1152" y="827"/>
                </a:lnTo>
                <a:lnTo>
                  <a:pt x="1178" y="787"/>
                </a:lnTo>
                <a:lnTo>
                  <a:pt x="1202" y="743"/>
                </a:lnTo>
                <a:lnTo>
                  <a:pt x="1224" y="697"/>
                </a:lnTo>
                <a:lnTo>
                  <a:pt x="1244" y="645"/>
                </a:lnTo>
                <a:lnTo>
                  <a:pt x="1260" y="591"/>
                </a:lnTo>
                <a:lnTo>
                  <a:pt x="1268" y="561"/>
                </a:lnTo>
                <a:lnTo>
                  <a:pt x="1272" y="533"/>
                </a:lnTo>
                <a:lnTo>
                  <a:pt x="1278" y="502"/>
                </a:lnTo>
                <a:lnTo>
                  <a:pt x="1280" y="470"/>
                </a:lnTo>
                <a:lnTo>
                  <a:pt x="1282" y="438"/>
                </a:lnTo>
                <a:lnTo>
                  <a:pt x="1284" y="404"/>
                </a:lnTo>
                <a:lnTo>
                  <a:pt x="1284" y="404"/>
                </a:lnTo>
                <a:lnTo>
                  <a:pt x="1282" y="350"/>
                </a:lnTo>
                <a:lnTo>
                  <a:pt x="1276" y="300"/>
                </a:lnTo>
                <a:lnTo>
                  <a:pt x="1266" y="254"/>
                </a:lnTo>
                <a:lnTo>
                  <a:pt x="1252" y="214"/>
                </a:lnTo>
                <a:lnTo>
                  <a:pt x="1236" y="176"/>
                </a:lnTo>
                <a:lnTo>
                  <a:pt x="1218" y="144"/>
                </a:lnTo>
                <a:lnTo>
                  <a:pt x="1198" y="114"/>
                </a:lnTo>
                <a:lnTo>
                  <a:pt x="1174" y="90"/>
                </a:lnTo>
                <a:lnTo>
                  <a:pt x="1150" y="68"/>
                </a:lnTo>
                <a:lnTo>
                  <a:pt x="1126" y="48"/>
                </a:lnTo>
                <a:lnTo>
                  <a:pt x="1100" y="34"/>
                </a:lnTo>
                <a:lnTo>
                  <a:pt x="1072" y="22"/>
                </a:lnTo>
                <a:lnTo>
                  <a:pt x="1046" y="12"/>
                </a:lnTo>
                <a:lnTo>
                  <a:pt x="1018" y="6"/>
                </a:lnTo>
                <a:lnTo>
                  <a:pt x="992" y="2"/>
                </a:lnTo>
                <a:lnTo>
                  <a:pt x="968" y="0"/>
                </a:lnTo>
                <a:lnTo>
                  <a:pt x="968" y="0"/>
                </a:lnTo>
                <a:lnTo>
                  <a:pt x="938" y="2"/>
                </a:lnTo>
                <a:lnTo>
                  <a:pt x="910" y="6"/>
                </a:lnTo>
                <a:lnTo>
                  <a:pt x="882" y="12"/>
                </a:lnTo>
                <a:lnTo>
                  <a:pt x="856" y="22"/>
                </a:lnTo>
                <a:lnTo>
                  <a:pt x="832" y="32"/>
                </a:lnTo>
                <a:lnTo>
                  <a:pt x="810" y="44"/>
                </a:lnTo>
                <a:lnTo>
                  <a:pt x="788" y="58"/>
                </a:lnTo>
                <a:lnTo>
                  <a:pt x="770" y="76"/>
                </a:lnTo>
                <a:lnTo>
                  <a:pt x="752" y="94"/>
                </a:lnTo>
                <a:lnTo>
                  <a:pt x="738" y="112"/>
                </a:lnTo>
                <a:lnTo>
                  <a:pt x="724" y="134"/>
                </a:lnTo>
                <a:lnTo>
                  <a:pt x="712" y="154"/>
                </a:lnTo>
                <a:lnTo>
                  <a:pt x="704" y="178"/>
                </a:lnTo>
                <a:lnTo>
                  <a:pt x="698" y="202"/>
                </a:lnTo>
                <a:lnTo>
                  <a:pt x="694" y="226"/>
                </a:lnTo>
                <a:lnTo>
                  <a:pt x="692" y="252"/>
                </a:lnTo>
                <a:lnTo>
                  <a:pt x="692" y="252"/>
                </a:lnTo>
                <a:lnTo>
                  <a:pt x="694" y="278"/>
                </a:lnTo>
                <a:lnTo>
                  <a:pt x="698" y="302"/>
                </a:lnTo>
                <a:lnTo>
                  <a:pt x="704" y="326"/>
                </a:lnTo>
                <a:lnTo>
                  <a:pt x="712" y="348"/>
                </a:lnTo>
                <a:lnTo>
                  <a:pt x="724" y="370"/>
                </a:lnTo>
                <a:lnTo>
                  <a:pt x="736" y="390"/>
                </a:lnTo>
                <a:lnTo>
                  <a:pt x="750" y="410"/>
                </a:lnTo>
                <a:lnTo>
                  <a:pt x="766" y="426"/>
                </a:lnTo>
                <a:lnTo>
                  <a:pt x="784" y="442"/>
                </a:lnTo>
                <a:lnTo>
                  <a:pt x="804" y="456"/>
                </a:lnTo>
                <a:lnTo>
                  <a:pt x="824" y="468"/>
                </a:lnTo>
                <a:lnTo>
                  <a:pt x="846" y="480"/>
                </a:lnTo>
                <a:lnTo>
                  <a:pt x="870" y="488"/>
                </a:lnTo>
                <a:lnTo>
                  <a:pt x="894" y="494"/>
                </a:lnTo>
                <a:lnTo>
                  <a:pt x="918" y="496"/>
                </a:lnTo>
                <a:lnTo>
                  <a:pt x="942" y="498"/>
                </a:lnTo>
                <a:lnTo>
                  <a:pt x="942" y="498"/>
                </a:lnTo>
                <a:lnTo>
                  <a:pt x="972" y="498"/>
                </a:lnTo>
                <a:lnTo>
                  <a:pt x="998" y="494"/>
                </a:lnTo>
                <a:lnTo>
                  <a:pt x="1022" y="490"/>
                </a:lnTo>
                <a:lnTo>
                  <a:pt x="1042" y="486"/>
                </a:lnTo>
                <a:lnTo>
                  <a:pt x="1072" y="478"/>
                </a:lnTo>
                <a:lnTo>
                  <a:pt x="1082" y="474"/>
                </a:lnTo>
                <a:lnTo>
                  <a:pt x="1082" y="474"/>
                </a:lnTo>
                <a:lnTo>
                  <a:pt x="1078" y="518"/>
                </a:lnTo>
                <a:lnTo>
                  <a:pt x="1072" y="557"/>
                </a:lnTo>
                <a:lnTo>
                  <a:pt x="1062" y="597"/>
                </a:lnTo>
                <a:lnTo>
                  <a:pt x="1048" y="633"/>
                </a:lnTo>
                <a:lnTo>
                  <a:pt x="1030" y="669"/>
                </a:lnTo>
                <a:lnTo>
                  <a:pt x="1012" y="701"/>
                </a:lnTo>
                <a:lnTo>
                  <a:pt x="992" y="731"/>
                </a:lnTo>
                <a:lnTo>
                  <a:pt x="972" y="759"/>
                </a:lnTo>
                <a:lnTo>
                  <a:pt x="950" y="785"/>
                </a:lnTo>
                <a:lnTo>
                  <a:pt x="928" y="809"/>
                </a:lnTo>
                <a:lnTo>
                  <a:pt x="890" y="847"/>
                </a:lnTo>
                <a:lnTo>
                  <a:pt x="856" y="873"/>
                </a:lnTo>
                <a:lnTo>
                  <a:pt x="834" y="891"/>
                </a:lnTo>
                <a:lnTo>
                  <a:pt x="834" y="891"/>
                </a:lnTo>
                <a:lnTo>
                  <a:pt x="828" y="897"/>
                </a:lnTo>
                <a:lnTo>
                  <a:pt x="822" y="905"/>
                </a:lnTo>
                <a:lnTo>
                  <a:pt x="818" y="915"/>
                </a:lnTo>
                <a:lnTo>
                  <a:pt x="816" y="925"/>
                </a:lnTo>
                <a:lnTo>
                  <a:pt x="816" y="935"/>
                </a:lnTo>
                <a:lnTo>
                  <a:pt x="818" y="945"/>
                </a:lnTo>
                <a:lnTo>
                  <a:pt x="824" y="957"/>
                </a:lnTo>
                <a:lnTo>
                  <a:pt x="832" y="967"/>
                </a:lnTo>
                <a:lnTo>
                  <a:pt x="884" y="1019"/>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sv-SE"/>
          </a:p>
        </p:txBody>
      </p:sp>
      <p:sp>
        <p:nvSpPr>
          <p:cNvPr id="2" name="Rubrik 1">
            <a:extLst>
              <a:ext uri="{FF2B5EF4-FFF2-40B4-BE49-F238E27FC236}">
                <a16:creationId xmlns:a16="http://schemas.microsoft.com/office/drawing/2014/main" id="{4EA76ECA-CF40-4A60-B309-60280244B606}"/>
              </a:ext>
            </a:extLst>
          </p:cNvPr>
          <p:cNvSpPr>
            <a:spLocks noGrp="1"/>
          </p:cNvSpPr>
          <p:nvPr userDrawn="1">
            <p:ph type="ctrTitle" hasCustomPrompt="1"/>
          </p:nvPr>
        </p:nvSpPr>
        <p:spPr>
          <a:xfrm>
            <a:off x="2305051" y="1693862"/>
            <a:ext cx="8153400" cy="4113213"/>
          </a:xfrm>
        </p:spPr>
        <p:txBody>
          <a:bodyPr anchor="t" anchorCtr="0"/>
          <a:lstStyle>
            <a:lvl1pPr algn="l">
              <a:lnSpc>
                <a:spcPts val="6800"/>
              </a:lnSpc>
              <a:defRPr sz="5400">
                <a:solidFill>
                  <a:schemeClr val="tx2"/>
                </a:solidFill>
                <a:latin typeface="Brandon Grotesque Bold" panose="020B0803020203060202" pitchFamily="34" charset="0"/>
              </a:defRPr>
            </a:lvl1pPr>
          </a:lstStyle>
          <a:p>
            <a:r>
              <a:rPr lang="sv-SE" dirty="0"/>
              <a:t>citat</a:t>
            </a:r>
          </a:p>
        </p:txBody>
      </p:sp>
    </p:spTree>
    <p:extLst>
      <p:ext uri="{BB962C8B-B14F-4D97-AF65-F5344CB8AC3E}">
        <p14:creationId xmlns:p14="http://schemas.microsoft.com/office/powerpoint/2010/main" val="37993416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nehåll &amp; stora siffror">
    <p:bg>
      <p:bgPr>
        <a:solidFill>
          <a:schemeClr val="bg1"/>
        </a:solidFill>
        <a:effectLst/>
      </p:bgPr>
    </p:bg>
    <p:spTree>
      <p:nvGrpSpPr>
        <p:cNvPr id="1" name=""/>
        <p:cNvGrpSpPr/>
        <p:nvPr/>
      </p:nvGrpSpPr>
      <p:grpSpPr>
        <a:xfrm>
          <a:off x="0" y="0"/>
          <a:ext cx="0" cy="0"/>
          <a:chOff x="0" y="0"/>
          <a:chExt cx="0" cy="0"/>
        </a:xfrm>
      </p:grpSpPr>
      <p:sp>
        <p:nvSpPr>
          <p:cNvPr id="12" name="Platshållare för text 11">
            <a:extLst>
              <a:ext uri="{FF2B5EF4-FFF2-40B4-BE49-F238E27FC236}">
                <a16:creationId xmlns:a16="http://schemas.microsoft.com/office/drawing/2014/main" id="{3D6D32C4-CF2A-4531-BDF0-9775B888B724}"/>
              </a:ext>
            </a:extLst>
          </p:cNvPr>
          <p:cNvSpPr>
            <a:spLocks noGrp="1"/>
          </p:cNvSpPr>
          <p:nvPr>
            <p:ph type="body" sz="quarter" idx="10"/>
          </p:nvPr>
        </p:nvSpPr>
        <p:spPr>
          <a:xfrm>
            <a:off x="629196" y="1719954"/>
            <a:ext cx="5057230" cy="40392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6"/>
            <a:ext cx="5058583"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
        <p:nvSpPr>
          <p:cNvPr id="14" name="Platshållare för text 13">
            <a:extLst>
              <a:ext uri="{FF2B5EF4-FFF2-40B4-BE49-F238E27FC236}">
                <a16:creationId xmlns:a16="http://schemas.microsoft.com/office/drawing/2014/main" id="{22B9DBBF-BB63-4AEC-AC1D-C803A4C8C637}"/>
              </a:ext>
            </a:extLst>
          </p:cNvPr>
          <p:cNvSpPr>
            <a:spLocks noGrp="1"/>
          </p:cNvSpPr>
          <p:nvPr>
            <p:ph type="body" sz="quarter" idx="11" hasCustomPrompt="1"/>
          </p:nvPr>
        </p:nvSpPr>
        <p:spPr>
          <a:xfrm>
            <a:off x="6181725" y="1395663"/>
            <a:ext cx="5381080" cy="4411579"/>
          </a:xfrm>
        </p:spPr>
        <p:txBody>
          <a:bodyPr wrap="none">
            <a:normAutofit/>
          </a:bodyPr>
          <a:lstStyle>
            <a:lvl1pPr marL="0" indent="0" algn="ctr">
              <a:lnSpc>
                <a:spcPts val="25000"/>
              </a:lnSpc>
              <a:spcBef>
                <a:spcPts val="0"/>
              </a:spcBef>
              <a:buNone/>
              <a:defRPr sz="22000">
                <a:solidFill>
                  <a:schemeClr val="accent4"/>
                </a:solidFill>
                <a:latin typeface="Brandon Grotesque Black" panose="020B0A03020203060202" pitchFamily="34" charset="0"/>
              </a:defRPr>
            </a:lvl1pPr>
          </a:lstStyle>
          <a:p>
            <a:pPr lvl="0"/>
            <a:r>
              <a:rPr lang="sv-SE" dirty="0"/>
              <a:t>XX%</a:t>
            </a:r>
          </a:p>
        </p:txBody>
      </p:sp>
    </p:spTree>
    <p:extLst>
      <p:ext uri="{BB962C8B-B14F-4D97-AF65-F5344CB8AC3E}">
        <p14:creationId xmlns:p14="http://schemas.microsoft.com/office/powerpoint/2010/main" val="39212440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ast rubrik">
    <p:bg>
      <p:bgPr>
        <a:solidFill>
          <a:schemeClr val="bg1"/>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21450B-C9A2-4212-850A-E639BD517290}"/>
              </a:ext>
            </a:extLst>
          </p:cNvPr>
          <p:cNvSpPr>
            <a:spLocks noGrp="1"/>
          </p:cNvSpPr>
          <p:nvPr>
            <p:ph type="title" hasCustomPrompt="1"/>
          </p:nvPr>
        </p:nvSpPr>
        <p:spPr>
          <a:xfrm>
            <a:off x="629194" y="230157"/>
            <a:ext cx="9669600" cy="1325563"/>
          </a:xfrm>
        </p:spPr>
        <p:txBody>
          <a:bodyPr/>
          <a:lstStyle>
            <a:lvl1pPr>
              <a:defRPr>
                <a:solidFill>
                  <a:schemeClr val="tx2"/>
                </a:solidFill>
                <a:latin typeface="Brandon Grotesque Black" panose="020B0A03020203060202" pitchFamily="34" charset="0"/>
              </a:defRPr>
            </a:lvl1pPr>
          </a:lstStyle>
          <a:p>
            <a:r>
              <a:rPr lang="sv-SE" dirty="0"/>
              <a:t>Rubrik</a:t>
            </a:r>
            <a:br>
              <a:rPr lang="sv-SE" dirty="0"/>
            </a:br>
            <a:r>
              <a:rPr lang="sv-SE" dirty="0"/>
              <a:t>2 rader</a:t>
            </a:r>
          </a:p>
        </p:txBody>
      </p:sp>
    </p:spTree>
    <p:extLst>
      <p:ext uri="{BB962C8B-B14F-4D97-AF65-F5344CB8AC3E}">
        <p14:creationId xmlns:p14="http://schemas.microsoft.com/office/powerpoint/2010/main" val="29280003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18" Type="http://schemas.openxmlformats.org/officeDocument/2006/relationships/image" Target="../media/image3.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7.emf"/><Relationship Id="rId2" Type="http://schemas.openxmlformats.org/officeDocument/2006/relationships/slideLayout" Target="../slideLayouts/slideLayout24.xml"/><Relationship Id="rId16" Type="http://schemas.openxmlformats.org/officeDocument/2006/relationships/oleObject" Target="../embeddings/oleObject1.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1.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1.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7.emf"/><Relationship Id="rId2" Type="http://schemas.openxmlformats.org/officeDocument/2006/relationships/slideLayout" Target="../slideLayouts/slideLayout36.xml"/><Relationship Id="rId16" Type="http://schemas.openxmlformats.org/officeDocument/2006/relationships/oleObject" Target="../embeddings/oleObject2.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2.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tx1"/>
                </a:solidFill>
              </a:defRPr>
            </a:lvl1pPr>
          </a:lstStyle>
          <a:p>
            <a:fld id="{663AC0A1-BF03-4687-BDDD-A787ED1917E4}" type="datetimeFigureOut">
              <a:rPr lang="sv-SE" smtClean="0"/>
              <a:pPr/>
              <a:t>2023-04-03</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a:extLst>
              <a:ext uri="{FF2B5EF4-FFF2-40B4-BE49-F238E27FC236}">
                <a16:creationId xmlns:a16="http://schemas.microsoft.com/office/drawing/2014/main" id="{78009161-4D9F-4935-A23F-27979DED39A6}"/>
              </a:ext>
            </a:extLst>
          </p:cNvPr>
          <p:cNvSpPr>
            <a:spLocks noGrp="1"/>
          </p:cNvSpPr>
          <p:nvPr>
            <p:ph type="sldNum" sz="quarter" idx="4"/>
          </p:nvPr>
        </p:nvSpPr>
        <p:spPr>
          <a:xfrm>
            <a:off x="84221" y="6426926"/>
            <a:ext cx="509108" cy="294549"/>
          </a:xfrm>
          <a:prstGeom prst="rect">
            <a:avLst/>
          </a:prstGeom>
        </p:spPr>
        <p:txBody>
          <a:bodyPr vert="horz" lIns="91440" tIns="45720" rIns="91440" bIns="45720" rtlCol="0" anchor="ctr"/>
          <a:lstStyle>
            <a:lvl1pPr algn="r">
              <a:defRPr sz="1200">
                <a:solidFill>
                  <a:schemeClr val="tx1"/>
                </a:solidFill>
              </a:defRPr>
            </a:lvl1pPr>
          </a:lstStyle>
          <a:p>
            <a:fld id="{FDD9FC71-94E5-4C63-83F9-09F1766974D0}" type="slidenum">
              <a:rPr lang="sv-SE" smtClean="0"/>
              <a:pPr/>
              <a:t>‹#›</a:t>
            </a:fld>
            <a:endParaRPr lang="sv-SE"/>
          </a:p>
        </p:txBody>
      </p:sp>
      <p:pic>
        <p:nvPicPr>
          <p:cNvPr id="7" name="Bildobjekt 6">
            <a:extLst>
              <a:ext uri="{FF2B5EF4-FFF2-40B4-BE49-F238E27FC236}">
                <a16:creationId xmlns:a16="http://schemas.microsoft.com/office/drawing/2014/main" id="{4C2CBCBC-1CB2-ED3F-A5C1-498B52CB801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2568731596"/>
      </p:ext>
    </p:extLst>
  </p:cSld>
  <p:clrMap bg1="lt1" tx1="dk1" bg2="lt2" tx2="dk2" accent1="accent1" accent2="accent2" accent3="accent3" accent4="accent4" accent5="accent5" accent6="accent6" hlink="hlink" folHlink="folHlink"/>
  <p:sldLayoutIdLst>
    <p:sldLayoutId id="2147483693" r:id="rId1"/>
    <p:sldLayoutId id="2147483682" r:id="rId2"/>
    <p:sldLayoutId id="2147483698" r:id="rId3"/>
    <p:sldLayoutId id="2147483688" r:id="rId4"/>
    <p:sldLayoutId id="2147483684" r:id="rId5"/>
    <p:sldLayoutId id="2147483697" r:id="rId6"/>
    <p:sldLayoutId id="2147483690" r:id="rId7"/>
    <p:sldLayoutId id="2147483686" r:id="rId8"/>
    <p:sldLayoutId id="2147483699" r:id="rId9"/>
    <p:sldLayoutId id="2147483700" r:id="rId10"/>
    <p:sldLayoutId id="2147483685" r:id="rId11"/>
  </p:sldLayoutIdLst>
  <p:txStyles>
    <p:title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59" userDrawn="1">
          <p15:clr>
            <a:srgbClr val="F26B43"/>
          </p15:clr>
        </p15:guide>
        <p15:guide id="2" orient="horz" pos="1277" userDrawn="1">
          <p15:clr>
            <a:srgbClr val="F26B43"/>
          </p15:clr>
        </p15:guide>
        <p15:guide id="3" orient="horz" pos="36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4D4848"/>
        </a:solidFill>
        <a:effectLst/>
      </p:bgPr>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tx1"/>
                </a:solidFill>
              </a:defRPr>
            </a:lvl1pPr>
          </a:lstStyle>
          <a:p>
            <a:fld id="{663AC0A1-BF03-4687-BDDD-A787ED1917E4}" type="datetimeFigureOut">
              <a:rPr lang="sv-SE" smtClean="0"/>
              <a:pPr/>
              <a:t>2023-04-03</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a:extLst>
              <a:ext uri="{FF2B5EF4-FFF2-40B4-BE49-F238E27FC236}">
                <a16:creationId xmlns:a16="http://schemas.microsoft.com/office/drawing/2014/main" id="{78009161-4D9F-4935-A23F-27979DED39A6}"/>
              </a:ext>
            </a:extLst>
          </p:cNvPr>
          <p:cNvSpPr>
            <a:spLocks noGrp="1"/>
          </p:cNvSpPr>
          <p:nvPr>
            <p:ph type="sldNum" sz="quarter" idx="4"/>
          </p:nvPr>
        </p:nvSpPr>
        <p:spPr>
          <a:xfrm>
            <a:off x="108284" y="6426926"/>
            <a:ext cx="471753" cy="294549"/>
          </a:xfrm>
          <a:prstGeom prst="rect">
            <a:avLst/>
          </a:prstGeom>
        </p:spPr>
        <p:txBody>
          <a:bodyPr vert="horz" lIns="91440" tIns="45720" rIns="91440" bIns="45720" rtlCol="0" anchor="ctr"/>
          <a:lstStyle>
            <a:lvl1pPr algn="r">
              <a:defRPr sz="1200">
                <a:solidFill>
                  <a:schemeClr val="tx1"/>
                </a:solidFill>
              </a:defRPr>
            </a:lvl1pPr>
          </a:lstStyle>
          <a:p>
            <a:fld id="{FDD9FC71-94E5-4C63-83F9-09F1766974D0}" type="slidenum">
              <a:rPr lang="sv-SE" smtClean="0"/>
              <a:pPr/>
              <a:t>‹#›</a:t>
            </a:fld>
            <a:endParaRPr lang="sv-SE"/>
          </a:p>
        </p:txBody>
      </p:sp>
      <p:pic>
        <p:nvPicPr>
          <p:cNvPr id="7" name="Bildobjekt 6" descr="Region Kronobergs logotyp i vitt.">
            <a:extLst>
              <a:ext uri="{FF2B5EF4-FFF2-40B4-BE49-F238E27FC236}">
                <a16:creationId xmlns:a16="http://schemas.microsoft.com/office/drawing/2014/main" id="{AF44FD0E-75BD-2148-0264-73CEB5A7A759}"/>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Tree>
    <p:extLst>
      <p:ext uri="{BB962C8B-B14F-4D97-AF65-F5344CB8AC3E}">
        <p14:creationId xmlns:p14="http://schemas.microsoft.com/office/powerpoint/2010/main" val="657464216"/>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914400" rtl="0" eaLnBrk="1" latinLnBrk="0" hangingPunct="1">
        <a:lnSpc>
          <a:spcPct val="100000"/>
        </a:lnSpc>
        <a:spcBef>
          <a:spcPct val="0"/>
        </a:spcBef>
        <a:buNone/>
        <a:defRPr sz="3800" kern="1200" cap="all" spc="140" baseline="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59" userDrawn="1">
          <p15:clr>
            <a:srgbClr val="F26B43"/>
          </p15:clr>
        </p15:guide>
        <p15:guide id="2" orient="horz" pos="1277" userDrawn="1">
          <p15:clr>
            <a:srgbClr val="F26B43"/>
          </p15:clr>
        </p15:guide>
        <p15:guide id="3" orient="horz" pos="365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4D4848"/>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548215F-41F0-44E6-923B-54D946A054B2}"/>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 name="think-cell Slide" r:id="rId16" imgW="421" imgH="423" progId="TCLayout.ActiveDocument.1">
                  <p:embed/>
                </p:oleObj>
              </mc:Choice>
              <mc:Fallback>
                <p:oleObj name="think-cell Slide" r:id="rId16" imgW="421" imgH="423" progId="TCLayout.ActiveDocument.1">
                  <p:embed/>
                  <p:pic>
                    <p:nvPicPr>
                      <p:cNvPr id="8" name="Objekt 7" hidden="1">
                        <a:extLst>
                          <a:ext uri="{FF2B5EF4-FFF2-40B4-BE49-F238E27FC236}">
                            <a16:creationId xmlns:a16="http://schemas.microsoft.com/office/drawing/2014/main" id="{E548215F-41F0-44E6-923B-54D946A054B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bg1"/>
                </a:solidFill>
              </a:defRPr>
            </a:lvl1pPr>
          </a:lstStyle>
          <a:p>
            <a:fld id="{663AC0A1-BF03-4687-BDDD-A787ED1917E4}" type="datetimeFigureOut">
              <a:rPr lang="sv-SE" smtClean="0"/>
              <a:pPr/>
              <a:t>2023-04-03</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pic>
        <p:nvPicPr>
          <p:cNvPr id="7" name="Bildobjekt 6" descr="Region Kronobergs logotyp i vitt.">
            <a:extLst>
              <a:ext uri="{FF2B5EF4-FFF2-40B4-BE49-F238E27FC236}">
                <a16:creationId xmlns:a16="http://schemas.microsoft.com/office/drawing/2014/main" id="{B1F1D716-EDCA-42CA-8CB2-2B0715248590}"/>
              </a:ext>
            </a:extLst>
          </p:cNvPr>
          <p:cNvPicPr>
            <a:picLocks noChangeAspect="1"/>
          </p:cNvPicPr>
          <p:nvPr userDrawn="1"/>
        </p:nvPicPr>
        <p:blipFill rotWithShape="1">
          <a:blip r:embed="rId18">
            <a:extLst>
              <a:ext uri="{28A0092B-C50C-407E-A947-70E740481C1C}">
                <a14:useLocalDpi xmlns:a14="http://schemas.microsoft.com/office/drawing/2010/main" val="0"/>
              </a:ext>
            </a:extLst>
          </a:blip>
          <a:srcRect l="5094" t="11082" r="4760" b="13048"/>
          <a:stretch/>
        </p:blipFill>
        <p:spPr>
          <a:xfrm>
            <a:off x="10293701" y="6013437"/>
            <a:ext cx="1718777" cy="534864"/>
          </a:xfrm>
          <a:prstGeom prst="rect">
            <a:avLst/>
          </a:prstGeom>
        </p:spPr>
      </p:pic>
    </p:spTree>
    <p:extLst>
      <p:ext uri="{BB962C8B-B14F-4D97-AF65-F5344CB8AC3E}">
        <p14:creationId xmlns:p14="http://schemas.microsoft.com/office/powerpoint/2010/main" val="626387674"/>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Lst>
  <p:txStyles>
    <p:titleStyle>
      <a:lvl1pPr algn="l" defTabSz="914400" rtl="0" eaLnBrk="1" latinLnBrk="0" hangingPunct="1">
        <a:lnSpc>
          <a:spcPct val="100000"/>
        </a:lnSpc>
        <a:spcBef>
          <a:spcPct val="0"/>
        </a:spcBef>
        <a:buNone/>
        <a:defRPr sz="3800" kern="1200" cap="all" spc="140" baseline="0">
          <a:solidFill>
            <a:schemeClr val="bg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bg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bg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bg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bg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p15:clr>
            <a:srgbClr val="F26B43"/>
          </p15:clr>
        </p15:guide>
        <p15:guide id="2" orient="horz" pos="1277">
          <p15:clr>
            <a:srgbClr val="F26B43"/>
          </p15:clr>
        </p15:guide>
        <p15:guide id="3" orient="horz" pos="36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7DD14E7-82EF-4C4A-AA93-AAE3470493BA}"/>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16" imgW="421" imgH="423" progId="TCLayout.ActiveDocument.1">
                  <p:embed/>
                </p:oleObj>
              </mc:Choice>
              <mc:Fallback>
                <p:oleObj name="think-cell Slide" r:id="rId16" imgW="421" imgH="423" progId="TCLayout.ActiveDocument.1">
                  <p:embed/>
                  <p:pic>
                    <p:nvPicPr>
                      <p:cNvPr id="8" name="Objekt 7" hidden="1">
                        <a:extLst>
                          <a:ext uri="{FF2B5EF4-FFF2-40B4-BE49-F238E27FC236}">
                            <a16:creationId xmlns:a16="http://schemas.microsoft.com/office/drawing/2014/main" id="{C7DD14E7-82EF-4C4A-AA93-AAE3470493B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tshållare för rubrik 1">
            <a:extLst>
              <a:ext uri="{FF2B5EF4-FFF2-40B4-BE49-F238E27FC236}">
                <a16:creationId xmlns:a16="http://schemas.microsoft.com/office/drawing/2014/main" id="{B6DB6828-10AF-47B4-BF5D-275A16139E22}"/>
              </a:ext>
            </a:extLst>
          </p:cNvPr>
          <p:cNvSpPr>
            <a:spLocks noGrp="1"/>
          </p:cNvSpPr>
          <p:nvPr>
            <p:ph type="title"/>
          </p:nvPr>
        </p:nvSpPr>
        <p:spPr>
          <a:xfrm>
            <a:off x="629194" y="237664"/>
            <a:ext cx="5961600" cy="1325563"/>
          </a:xfrm>
          <a:prstGeom prst="rect">
            <a:avLst/>
          </a:prstGeom>
        </p:spPr>
        <p:txBody>
          <a:bodyPr vert="horz" lIns="91440" tIns="45720" rIns="91440" bIns="45720" rtlCol="0" anchor="b" anchorCtr="0">
            <a:noAutofit/>
          </a:bodyPr>
          <a:lstStyle/>
          <a:p>
            <a:r>
              <a:rPr lang="sv-SE" dirty="0"/>
              <a:t>Rubrik</a:t>
            </a:r>
            <a:br>
              <a:rPr lang="sv-SE" dirty="0"/>
            </a:br>
            <a:r>
              <a:rPr lang="sv-SE" dirty="0"/>
              <a:t>2 rader</a:t>
            </a:r>
          </a:p>
        </p:txBody>
      </p:sp>
      <p:sp>
        <p:nvSpPr>
          <p:cNvPr id="3" name="Platshållare för text 2">
            <a:extLst>
              <a:ext uri="{FF2B5EF4-FFF2-40B4-BE49-F238E27FC236}">
                <a16:creationId xmlns:a16="http://schemas.microsoft.com/office/drawing/2014/main" id="{207BD704-AF7B-4C4D-89DD-734EF63C33E6}"/>
              </a:ext>
            </a:extLst>
          </p:cNvPr>
          <p:cNvSpPr>
            <a:spLocks noGrp="1"/>
          </p:cNvSpPr>
          <p:nvPr>
            <p:ph type="body" idx="1"/>
          </p:nvPr>
        </p:nvSpPr>
        <p:spPr>
          <a:xfrm>
            <a:off x="633528" y="1727424"/>
            <a:ext cx="5980612" cy="4015650"/>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a:extLst>
              <a:ext uri="{FF2B5EF4-FFF2-40B4-BE49-F238E27FC236}">
                <a16:creationId xmlns:a16="http://schemas.microsoft.com/office/drawing/2014/main" id="{2AB3ED49-D6DB-4F2F-81FB-724525E89D67}"/>
              </a:ext>
            </a:extLst>
          </p:cNvPr>
          <p:cNvSpPr>
            <a:spLocks noGrp="1"/>
          </p:cNvSpPr>
          <p:nvPr>
            <p:ph type="dt" sz="half" idx="2"/>
          </p:nvPr>
        </p:nvSpPr>
        <p:spPr>
          <a:xfrm>
            <a:off x="637903" y="6426926"/>
            <a:ext cx="1129937" cy="294549"/>
          </a:xfrm>
          <a:prstGeom prst="rect">
            <a:avLst/>
          </a:prstGeom>
        </p:spPr>
        <p:txBody>
          <a:bodyPr vert="horz" lIns="91440" tIns="45720" rIns="91440" bIns="45720" rtlCol="0" anchor="ctr"/>
          <a:lstStyle>
            <a:lvl1pPr algn="l">
              <a:defRPr sz="1200">
                <a:solidFill>
                  <a:schemeClr val="tx1"/>
                </a:solidFill>
              </a:defRPr>
            </a:lvl1pPr>
          </a:lstStyle>
          <a:p>
            <a:fld id="{663AC0A1-BF03-4687-BDDD-A787ED1917E4}" type="datetimeFigureOut">
              <a:rPr lang="sv-SE" smtClean="0"/>
              <a:pPr/>
              <a:t>2023-04-03</a:t>
            </a:fld>
            <a:endParaRPr lang="sv-SE" dirty="0"/>
          </a:p>
        </p:txBody>
      </p:sp>
      <p:sp>
        <p:nvSpPr>
          <p:cNvPr id="5" name="Platshållare för sidfot 4">
            <a:extLst>
              <a:ext uri="{FF2B5EF4-FFF2-40B4-BE49-F238E27FC236}">
                <a16:creationId xmlns:a16="http://schemas.microsoft.com/office/drawing/2014/main" id="{875F03B2-91DA-4A48-AB8F-E227C991CB60}"/>
              </a:ext>
            </a:extLst>
          </p:cNvPr>
          <p:cNvSpPr>
            <a:spLocks noGrp="1"/>
          </p:cNvSpPr>
          <p:nvPr>
            <p:ph type="ftr" sz="quarter" idx="3"/>
          </p:nvPr>
        </p:nvSpPr>
        <p:spPr>
          <a:xfrm>
            <a:off x="4038600" y="6426926"/>
            <a:ext cx="4114800" cy="294549"/>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pic>
        <p:nvPicPr>
          <p:cNvPr id="7" name="Bildobjekt 6">
            <a:extLst>
              <a:ext uri="{FF2B5EF4-FFF2-40B4-BE49-F238E27FC236}">
                <a16:creationId xmlns:a16="http://schemas.microsoft.com/office/drawing/2014/main" id="{2C7FD6BA-4039-4D8C-818E-3DF94A16FF68}"/>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347767" y="6065814"/>
            <a:ext cx="1583106" cy="443127"/>
          </a:xfrm>
          <a:prstGeom prst="rect">
            <a:avLst/>
          </a:prstGeom>
        </p:spPr>
      </p:pic>
    </p:spTree>
    <p:extLst>
      <p:ext uri="{BB962C8B-B14F-4D97-AF65-F5344CB8AC3E}">
        <p14:creationId xmlns:p14="http://schemas.microsoft.com/office/powerpoint/2010/main" val="401884115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Lst>
  <p:txStyles>
    <p:titleStyle>
      <a:lvl1pPr algn="l" defTabSz="914400" rtl="0" eaLnBrk="1" latinLnBrk="0" hangingPunct="1">
        <a:lnSpc>
          <a:spcPct val="100000"/>
        </a:lnSpc>
        <a:spcBef>
          <a:spcPct val="0"/>
        </a:spcBef>
        <a:buNone/>
        <a:defRPr sz="3800" kern="1200" cap="all" spc="140" baseline="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100" kern="1200">
          <a:solidFill>
            <a:schemeClr val="tx1"/>
          </a:solidFill>
          <a:latin typeface="+mn-lt"/>
          <a:ea typeface="+mn-ea"/>
          <a:cs typeface="+mn-cs"/>
        </a:defRPr>
      </a:lvl1pPr>
      <a:lvl2pPr marL="493713" indent="-249238" algn="l" defTabSz="914400" rtl="0" eaLnBrk="1" latinLnBrk="0" hangingPunct="1">
        <a:lnSpc>
          <a:spcPct val="100000"/>
        </a:lnSpc>
        <a:spcBef>
          <a:spcPts val="500"/>
        </a:spcBef>
        <a:buFont typeface="Arial" panose="020B0604020202020204" pitchFamily="34" charset="0"/>
        <a:buChar char="•"/>
        <a:defRPr sz="1900" kern="1200">
          <a:solidFill>
            <a:schemeClr val="tx1"/>
          </a:solidFill>
          <a:latin typeface="+mn-lt"/>
          <a:ea typeface="+mn-ea"/>
          <a:cs typeface="+mn-cs"/>
        </a:defRPr>
      </a:lvl2pPr>
      <a:lvl3pPr marL="758825" indent="-247650" algn="l" defTabSz="914400" rtl="0" eaLnBrk="1" latinLnBrk="0" hangingPunct="1">
        <a:lnSpc>
          <a:spcPct val="100000"/>
        </a:lnSpc>
        <a:spcBef>
          <a:spcPts val="500"/>
        </a:spcBef>
        <a:buFont typeface="Arial" panose="020B0604020202020204" pitchFamily="34" charset="0"/>
        <a:buChar char="•"/>
        <a:tabLst/>
        <a:defRPr sz="1700" kern="1200">
          <a:solidFill>
            <a:schemeClr val="tx1"/>
          </a:solidFill>
          <a:latin typeface="+mn-lt"/>
          <a:ea typeface="+mn-ea"/>
          <a:cs typeface="+mn-cs"/>
        </a:defRPr>
      </a:lvl3pPr>
      <a:lvl4pPr marL="1009650" indent="-247650" algn="l" defTabSz="914400"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1290638" indent="-260350" algn="l" defTabSz="914400" rtl="0" eaLnBrk="1" latinLnBrk="0" hangingPunct="1">
        <a:lnSpc>
          <a:spcPct val="100000"/>
        </a:lnSpc>
        <a:spcBef>
          <a:spcPts val="500"/>
        </a:spcBef>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59">
          <p15:clr>
            <a:srgbClr val="F26B43"/>
          </p15:clr>
        </p15:guide>
        <p15:guide id="2" orient="horz" pos="1277">
          <p15:clr>
            <a:srgbClr val="F26B43"/>
          </p15:clr>
        </p15:guide>
        <p15:guide id="3" orient="horz" pos="365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hyperlink" Target="https://www.regionkronoberg.se/vardgivare/arbetsomraden-processer/bokakalla-processen/" TargetMode="Externa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hyperlink" Target="https://www.regionkronoberg.se/vardgivare/arbetsomraden-processer/bokakalla-processen/" TargetMode="Externa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hyperlink" Target="https://www.regionkronoberg.se/vardgivare/arbetsomraden-processer/bokakalla-processen/"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EDCF8477-1953-4CFF-963C-87D85983A378}"/>
              </a:ext>
            </a:extLst>
          </p:cNvPr>
          <p:cNvSpPr>
            <a:spLocks noGrp="1"/>
          </p:cNvSpPr>
          <p:nvPr>
            <p:ph type="ctrTitle"/>
          </p:nvPr>
        </p:nvSpPr>
        <p:spPr/>
        <p:txBody>
          <a:bodyPr/>
          <a:lstStyle/>
          <a:p>
            <a:r>
              <a:rPr lang="sv-SE" dirty="0"/>
              <a:t>Boka/kalla Processen</a:t>
            </a:r>
          </a:p>
        </p:txBody>
      </p:sp>
      <p:sp>
        <p:nvSpPr>
          <p:cNvPr id="5" name="Underrubrik 4">
            <a:extLst>
              <a:ext uri="{FF2B5EF4-FFF2-40B4-BE49-F238E27FC236}">
                <a16:creationId xmlns:a16="http://schemas.microsoft.com/office/drawing/2014/main" id="{56445D12-CC0E-4FA1-A74E-F66E5B63B8AC}"/>
              </a:ext>
            </a:extLst>
          </p:cNvPr>
          <p:cNvSpPr>
            <a:spLocks noGrp="1"/>
          </p:cNvSpPr>
          <p:nvPr>
            <p:ph type="subTitle" idx="1"/>
          </p:nvPr>
        </p:nvSpPr>
        <p:spPr/>
        <p:txBody>
          <a:bodyPr>
            <a:normAutofit lnSpcReduction="10000"/>
          </a:bodyPr>
          <a:lstStyle/>
          <a:p>
            <a:r>
              <a:rPr lang="sv-SE"/>
              <a:t>20230403</a:t>
            </a:r>
            <a:endParaRPr lang="sv-SE" dirty="0"/>
          </a:p>
        </p:txBody>
      </p:sp>
    </p:spTree>
    <p:extLst>
      <p:ext uri="{BB962C8B-B14F-4D97-AF65-F5344CB8AC3E}">
        <p14:creationId xmlns:p14="http://schemas.microsoft.com/office/powerpoint/2010/main" val="1100826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F4BE0C5-1FFA-4D78-ABF7-2A082F1E38AD}"/>
              </a:ext>
            </a:extLst>
          </p:cNvPr>
          <p:cNvSpPr>
            <a:spLocks noGrp="1"/>
          </p:cNvSpPr>
          <p:nvPr>
            <p:ph sz="quarter" idx="11"/>
          </p:nvPr>
        </p:nvSpPr>
        <p:spPr/>
        <p:txBody>
          <a:bodyPr>
            <a:normAutofit fontScale="77500" lnSpcReduction="20000"/>
          </a:bodyPr>
          <a:lstStyle/>
          <a:p>
            <a:r>
              <a:rPr lang="sv-SE" b="1" dirty="0"/>
              <a:t>Ska administrativ personal alltid boka alla tider?</a:t>
            </a:r>
            <a:br>
              <a:rPr lang="sv-SE" dirty="0"/>
            </a:br>
            <a:r>
              <a:rPr lang="sv-SE" dirty="0"/>
              <a:t>Projektets mål är att i första hand ska bokningar göras av patienten</a:t>
            </a:r>
            <a:br>
              <a:rPr lang="sv-SE" dirty="0"/>
            </a:br>
            <a:r>
              <a:rPr lang="sv-SE" dirty="0"/>
              <a:t>i andra hand administrativ personal och i tredje hand av vårdpersonal. </a:t>
            </a:r>
            <a:br>
              <a:rPr lang="sv-SE" dirty="0"/>
            </a:br>
            <a:r>
              <a:rPr lang="sv-SE" dirty="0"/>
              <a:t>Det kan finnas bokningar som är betydligt enklare och mer tidseffektivt om vårdpersonal gör. Verksamhetschefen beslutar hur strukturen ska se ut på enheten. </a:t>
            </a:r>
          </a:p>
          <a:p>
            <a:r>
              <a:rPr lang="sv-SE" b="1" dirty="0"/>
              <a:t>Finns det risk för att patienter med störst vårdbehov inte bokas in om bokningen sker av administrativ personal?</a:t>
            </a:r>
            <a:br>
              <a:rPr lang="sv-SE" dirty="0"/>
            </a:br>
            <a:r>
              <a:rPr lang="sv-SE" dirty="0"/>
              <a:t>Administrativ personal bokar in patienter utifrån den </a:t>
            </a:r>
            <a:r>
              <a:rPr lang="sv-SE" dirty="0" err="1"/>
              <a:t>triagering</a:t>
            </a:r>
            <a:r>
              <a:rPr lang="sv-SE" dirty="0"/>
              <a:t> som medicinskt ansvarig personal har upprättat och vid osäkerhet rådfrågas medicinskt ansvarig för vägledning. Återkoppling och analys av väntelistor och produktionsstatistik ska göras regelbundet till berörda inför varje schemaläggningsperiod för att tidböcker i så hög utsträckning som möjligt ska matcha väntelistorna. Ansvaret för omprioriteringar av patienter ligger på MLA. </a:t>
            </a:r>
          </a:p>
          <a:p>
            <a:r>
              <a:rPr lang="sv-SE" b="1" dirty="0"/>
              <a:t>Men vad händer om väntelistan är betydligt större än antalet bokningsbara tider?</a:t>
            </a:r>
            <a:br>
              <a:rPr lang="sv-SE" b="1" dirty="0"/>
            </a:br>
            <a:r>
              <a:rPr lang="sv-SE" dirty="0"/>
              <a:t>Genom uppgiftsväxling till administrativ personal hoppas vi kunna frigöra tid hos vårdpersonal - tid som istället kan användas till patientbesök - och därmed minska diskrepansen mellan behovet och bokningsbara tider.</a:t>
            </a:r>
          </a:p>
          <a:p>
            <a:pPr marL="0" indent="0">
              <a:buNone/>
            </a:pPr>
            <a:br>
              <a:rPr lang="sv-SE" dirty="0"/>
            </a:br>
            <a:endParaRPr lang="sv-SE" dirty="0"/>
          </a:p>
        </p:txBody>
      </p:sp>
      <p:sp>
        <p:nvSpPr>
          <p:cNvPr id="3" name="Rubrik 2">
            <a:extLst>
              <a:ext uri="{FF2B5EF4-FFF2-40B4-BE49-F238E27FC236}">
                <a16:creationId xmlns:a16="http://schemas.microsoft.com/office/drawing/2014/main" id="{216E060C-2713-441F-AC7D-3B0DBBDA7154}"/>
              </a:ext>
            </a:extLst>
          </p:cNvPr>
          <p:cNvSpPr>
            <a:spLocks noGrp="1"/>
          </p:cNvSpPr>
          <p:nvPr>
            <p:ph type="title"/>
          </p:nvPr>
        </p:nvSpPr>
        <p:spPr/>
        <p:txBody>
          <a:bodyPr/>
          <a:lstStyle/>
          <a:p>
            <a:r>
              <a:rPr lang="sv-SE" dirty="0"/>
              <a:t>Vanliga frågor och svar</a:t>
            </a:r>
          </a:p>
        </p:txBody>
      </p:sp>
    </p:spTree>
    <p:extLst>
      <p:ext uri="{BB962C8B-B14F-4D97-AF65-F5344CB8AC3E}">
        <p14:creationId xmlns:p14="http://schemas.microsoft.com/office/powerpoint/2010/main" val="2400430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96E87E21-C4CD-4AF0-AB9E-84FD1C0E4A90}"/>
              </a:ext>
            </a:extLst>
          </p:cNvPr>
          <p:cNvSpPr>
            <a:spLocks noGrp="1"/>
          </p:cNvSpPr>
          <p:nvPr>
            <p:ph sz="quarter" idx="11"/>
          </p:nvPr>
        </p:nvSpPr>
        <p:spPr/>
        <p:txBody>
          <a:bodyPr/>
          <a:lstStyle/>
          <a:p>
            <a:r>
              <a:rPr lang="sv-SE" dirty="0">
                <a:hlinkClick r:id="rId2"/>
              </a:rPr>
              <a:t>Vårdgivarwebben - Boka/kalla-processen (regionkronoberg.se)</a:t>
            </a:r>
            <a:endParaRPr lang="sv-SE" dirty="0"/>
          </a:p>
        </p:txBody>
      </p:sp>
      <p:sp>
        <p:nvSpPr>
          <p:cNvPr id="3" name="Rubrik 2">
            <a:extLst>
              <a:ext uri="{FF2B5EF4-FFF2-40B4-BE49-F238E27FC236}">
                <a16:creationId xmlns:a16="http://schemas.microsoft.com/office/drawing/2014/main" id="{554AF01C-162C-4C9C-B792-6A51031282D5}"/>
              </a:ext>
            </a:extLst>
          </p:cNvPr>
          <p:cNvSpPr>
            <a:spLocks noGrp="1"/>
          </p:cNvSpPr>
          <p:nvPr>
            <p:ph type="title"/>
          </p:nvPr>
        </p:nvSpPr>
        <p:spPr/>
        <p:txBody>
          <a:bodyPr/>
          <a:lstStyle/>
          <a:p>
            <a:r>
              <a:rPr lang="sv-SE" dirty="0"/>
              <a:t>Mer info om boka/Kalla processen</a:t>
            </a:r>
          </a:p>
        </p:txBody>
      </p:sp>
    </p:spTree>
    <p:extLst>
      <p:ext uri="{BB962C8B-B14F-4D97-AF65-F5344CB8AC3E}">
        <p14:creationId xmlns:p14="http://schemas.microsoft.com/office/powerpoint/2010/main" val="2947408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C9A9C673-3732-4A53-9999-3B11136ED4E6}"/>
              </a:ext>
            </a:extLst>
          </p:cNvPr>
          <p:cNvSpPr>
            <a:spLocks noGrp="1"/>
          </p:cNvSpPr>
          <p:nvPr>
            <p:ph sz="quarter" idx="11"/>
          </p:nvPr>
        </p:nvSpPr>
        <p:spPr/>
        <p:txBody>
          <a:bodyPr/>
          <a:lstStyle/>
          <a:p>
            <a:r>
              <a:rPr lang="sv-SE" dirty="0"/>
              <a:t>Boka/kalla fokuserar på att hitta möjligheter till uppgiftsväxling av administrativa uppgifter kopplade till att boka och kalla patienter. </a:t>
            </a:r>
          </a:p>
          <a:p>
            <a:r>
              <a:rPr lang="sv-SE" dirty="0"/>
              <a:t>Uppgiftsväxlingen sker på två sätt; </a:t>
            </a:r>
            <a:br>
              <a:rPr lang="sv-SE" dirty="0"/>
            </a:br>
            <a:r>
              <a:rPr lang="sv-SE" dirty="0"/>
              <a:t>- från vårdpersonal till patienter genom att fler använder webbtidbok </a:t>
            </a:r>
            <a:br>
              <a:rPr lang="sv-SE" dirty="0"/>
            </a:br>
            <a:r>
              <a:rPr lang="sv-SE" dirty="0"/>
              <a:t>- från vårdpersonal till administrativ personal </a:t>
            </a:r>
          </a:p>
          <a:p>
            <a:r>
              <a:rPr lang="sv-SE" dirty="0"/>
              <a:t>Projektets mål är att:</a:t>
            </a:r>
            <a:br>
              <a:rPr lang="sv-SE" dirty="0"/>
            </a:br>
            <a:r>
              <a:rPr lang="sv-SE" dirty="0"/>
              <a:t>- i första hand ska bokningar göras av patienten</a:t>
            </a:r>
            <a:br>
              <a:rPr lang="sv-SE" dirty="0"/>
            </a:br>
            <a:r>
              <a:rPr lang="sv-SE" dirty="0"/>
              <a:t>- i andra hand administrativ personal</a:t>
            </a:r>
            <a:br>
              <a:rPr lang="sv-SE" dirty="0"/>
            </a:br>
            <a:r>
              <a:rPr lang="sv-SE" dirty="0"/>
              <a:t>- i tredje hand av vårdpersonal</a:t>
            </a:r>
          </a:p>
          <a:p>
            <a:endParaRPr lang="sv-SE" dirty="0"/>
          </a:p>
          <a:p>
            <a:endParaRPr lang="sv-SE" dirty="0"/>
          </a:p>
        </p:txBody>
      </p:sp>
      <p:sp>
        <p:nvSpPr>
          <p:cNvPr id="3" name="Rubrik 2">
            <a:extLst>
              <a:ext uri="{FF2B5EF4-FFF2-40B4-BE49-F238E27FC236}">
                <a16:creationId xmlns:a16="http://schemas.microsoft.com/office/drawing/2014/main" id="{53927BF3-B5F9-477C-88E4-CEBB7D3844ED}"/>
              </a:ext>
            </a:extLst>
          </p:cNvPr>
          <p:cNvSpPr>
            <a:spLocks noGrp="1"/>
          </p:cNvSpPr>
          <p:nvPr>
            <p:ph type="title"/>
          </p:nvPr>
        </p:nvSpPr>
        <p:spPr/>
        <p:txBody>
          <a:bodyPr/>
          <a:lstStyle/>
          <a:p>
            <a:r>
              <a:rPr lang="sv-SE" dirty="0"/>
              <a:t>Boka/Kalla Processen – en del i omställningen till nära vård</a:t>
            </a:r>
          </a:p>
        </p:txBody>
      </p:sp>
    </p:spTree>
    <p:extLst>
      <p:ext uri="{BB962C8B-B14F-4D97-AF65-F5344CB8AC3E}">
        <p14:creationId xmlns:p14="http://schemas.microsoft.com/office/powerpoint/2010/main" val="3936178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AF3C47E3-04F5-43D5-B082-F59F0AEF0B8A}"/>
              </a:ext>
            </a:extLst>
          </p:cNvPr>
          <p:cNvSpPr>
            <a:spLocks noGrp="1"/>
          </p:cNvSpPr>
          <p:nvPr>
            <p:ph sz="quarter" idx="11"/>
          </p:nvPr>
        </p:nvSpPr>
        <p:spPr/>
        <p:txBody>
          <a:bodyPr>
            <a:normAutofit/>
          </a:bodyPr>
          <a:lstStyle/>
          <a:p>
            <a:pPr lvl="0"/>
            <a:r>
              <a:rPr lang="sv-SE" dirty="0"/>
              <a:t>För att hantera kompetensbrist – ökade vårdbehov och brist på vårdpersonal skapar ett gap mellan den kompetens vi skulle behöva och den vi kan få tag på. </a:t>
            </a:r>
            <a:endParaRPr lang="sv-SE" i="1" dirty="0"/>
          </a:p>
          <a:p>
            <a:pPr lvl="0"/>
            <a:r>
              <a:rPr lang="sv-SE" dirty="0"/>
              <a:t>För att patienterna förväntar sig att i allt högre grad få ta en mer aktiv del i sin vård. </a:t>
            </a:r>
          </a:p>
          <a:p>
            <a:pPr lvl="0"/>
            <a:r>
              <a:rPr lang="sv-SE" dirty="0"/>
              <a:t>Tekniska möjligheter skapar nya möjligheter som vi vill ta tillvara. </a:t>
            </a:r>
            <a:endParaRPr lang="sv-SE" i="1" dirty="0"/>
          </a:p>
          <a:p>
            <a:pPr lvl="0"/>
            <a:endParaRPr lang="sv-SE" i="1" dirty="0"/>
          </a:p>
          <a:p>
            <a:pPr marL="0" indent="0">
              <a:buNone/>
            </a:pPr>
            <a:r>
              <a:rPr lang="sv-SE" b="1" dirty="0"/>
              <a:t>Huvudmålet är att frigöra tid för patienter och ge patienter möjlighet att vara mer delaktiga i sin egen vård samtidigt som vi säkerställer en god arbetsmiljö för våra medarbetare. </a:t>
            </a:r>
          </a:p>
          <a:p>
            <a:pPr marL="0" indent="0">
              <a:buNone/>
            </a:pPr>
            <a:endParaRPr lang="sv-SE" b="1" dirty="0"/>
          </a:p>
          <a:p>
            <a:pPr marL="0" lvl="0" indent="0">
              <a:buNone/>
            </a:pPr>
            <a:endParaRPr lang="sv-SE" dirty="0"/>
          </a:p>
          <a:p>
            <a:endParaRPr lang="sv-SE" dirty="0"/>
          </a:p>
        </p:txBody>
      </p:sp>
      <p:sp>
        <p:nvSpPr>
          <p:cNvPr id="3" name="Rubrik 2">
            <a:extLst>
              <a:ext uri="{FF2B5EF4-FFF2-40B4-BE49-F238E27FC236}">
                <a16:creationId xmlns:a16="http://schemas.microsoft.com/office/drawing/2014/main" id="{8D6BECC5-5C3C-4F32-802A-D96C32EE7819}"/>
              </a:ext>
            </a:extLst>
          </p:cNvPr>
          <p:cNvSpPr>
            <a:spLocks noGrp="1"/>
          </p:cNvSpPr>
          <p:nvPr>
            <p:ph type="title"/>
          </p:nvPr>
        </p:nvSpPr>
        <p:spPr/>
        <p:txBody>
          <a:bodyPr/>
          <a:lstStyle/>
          <a:p>
            <a:r>
              <a:rPr lang="sv-SE" dirty="0"/>
              <a:t>Varför ska vi kompetensväxla och kompetensutveckla?</a:t>
            </a:r>
          </a:p>
        </p:txBody>
      </p:sp>
    </p:spTree>
    <p:extLst>
      <p:ext uri="{BB962C8B-B14F-4D97-AF65-F5344CB8AC3E}">
        <p14:creationId xmlns:p14="http://schemas.microsoft.com/office/powerpoint/2010/main" val="3527727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4289770E-65C5-4034-A4BE-76565293C7B7}"/>
              </a:ext>
            </a:extLst>
          </p:cNvPr>
          <p:cNvSpPr>
            <a:spLocks noGrp="1"/>
          </p:cNvSpPr>
          <p:nvPr>
            <p:ph sz="quarter" idx="11"/>
          </p:nvPr>
        </p:nvSpPr>
        <p:spPr/>
        <p:txBody>
          <a:bodyPr>
            <a:normAutofit/>
          </a:bodyPr>
          <a:lstStyle/>
          <a:p>
            <a:pPr marL="0" indent="0">
              <a:buNone/>
            </a:pPr>
            <a:r>
              <a:rPr lang="sv-SE" sz="2000" dirty="0"/>
              <a:t>Webbtidbok är ett samlingsbegrepp för att patienten själv ska kunna se/boka/av-/omboka sina tider via 1177.se. Webbtidboken ska vara breddinförd 2025. Breddinförandet innebär att verksamhetens vårdtjänster har inventerats för att se vad som kan göras om till webbtidbok och webbtidboken ska lanseras, så att patienten kan hantera sina tider.</a:t>
            </a:r>
            <a:br>
              <a:rPr lang="sv-SE" sz="2000" dirty="0">
                <a:solidFill>
                  <a:schemeClr val="bg2"/>
                </a:solidFill>
              </a:rPr>
            </a:br>
            <a:endParaRPr lang="sv-SE" sz="2000" dirty="0">
              <a:solidFill>
                <a:schemeClr val="bg2"/>
              </a:solidFill>
            </a:endParaRPr>
          </a:p>
          <a:p>
            <a:pPr marL="0" indent="0">
              <a:buNone/>
            </a:pPr>
            <a:r>
              <a:rPr lang="sv-SE" b="1" dirty="0"/>
              <a:t>Syfte med webbtidboken</a:t>
            </a:r>
            <a:endParaRPr lang="sv-SE" dirty="0"/>
          </a:p>
          <a:p>
            <a:r>
              <a:rPr lang="sv-SE" dirty="0"/>
              <a:t>Öka patienternas delaktighet i vården genom samlade digitala möjligheter.</a:t>
            </a:r>
          </a:p>
          <a:p>
            <a:r>
              <a:rPr lang="sv-SE" dirty="0"/>
              <a:t>Likvärdigt utbud på 1177 av e-tjänster och </a:t>
            </a:r>
            <a:r>
              <a:rPr lang="sv-SE" dirty="0" err="1"/>
              <a:t>webbtidbokning</a:t>
            </a:r>
            <a:r>
              <a:rPr lang="sv-SE" dirty="0"/>
              <a:t> oavsett var invånaren söker sin vård.</a:t>
            </a:r>
          </a:p>
          <a:p>
            <a:r>
              <a:rPr lang="sv-SE" dirty="0"/>
              <a:t>Spara resurser i vården med patienten som resurs.</a:t>
            </a:r>
            <a:endParaRPr lang="sv-SE" sz="2000" dirty="0"/>
          </a:p>
          <a:p>
            <a:pPr lvl="0"/>
            <a:endParaRPr lang="sv-SE" dirty="0"/>
          </a:p>
        </p:txBody>
      </p:sp>
      <p:sp>
        <p:nvSpPr>
          <p:cNvPr id="3" name="Rubrik 2">
            <a:extLst>
              <a:ext uri="{FF2B5EF4-FFF2-40B4-BE49-F238E27FC236}">
                <a16:creationId xmlns:a16="http://schemas.microsoft.com/office/drawing/2014/main" id="{3093A54F-7402-4C12-982B-6A7298862071}"/>
              </a:ext>
            </a:extLst>
          </p:cNvPr>
          <p:cNvSpPr>
            <a:spLocks noGrp="1"/>
          </p:cNvSpPr>
          <p:nvPr>
            <p:ph type="title"/>
          </p:nvPr>
        </p:nvSpPr>
        <p:spPr/>
        <p:txBody>
          <a:bodyPr/>
          <a:lstStyle/>
          <a:p>
            <a:r>
              <a:rPr lang="sv-SE" dirty="0"/>
              <a:t>Uppgiftväxling till Patient- Webbtidbok</a:t>
            </a:r>
            <a:endParaRPr lang="sv-SE" dirty="0">
              <a:highlight>
                <a:srgbClr val="FFFF00"/>
              </a:highlight>
            </a:endParaRPr>
          </a:p>
        </p:txBody>
      </p:sp>
    </p:spTree>
    <p:extLst>
      <p:ext uri="{BB962C8B-B14F-4D97-AF65-F5344CB8AC3E}">
        <p14:creationId xmlns:p14="http://schemas.microsoft.com/office/powerpoint/2010/main" val="14356489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C21C0CFB-431B-4A8C-A52C-A590375CF2BF}"/>
              </a:ext>
            </a:extLst>
          </p:cNvPr>
          <p:cNvSpPr>
            <a:spLocks noGrp="1"/>
          </p:cNvSpPr>
          <p:nvPr>
            <p:ph sz="quarter" idx="11"/>
          </p:nvPr>
        </p:nvSpPr>
        <p:spPr/>
        <p:txBody>
          <a:bodyPr>
            <a:normAutofit lnSpcReduction="10000"/>
          </a:bodyPr>
          <a:lstStyle/>
          <a:p>
            <a:r>
              <a:rPr lang="sv-SE" b="1" dirty="0"/>
              <a:t>Ska alla vårdtjänster gå att hantera via webbtidboken?</a:t>
            </a:r>
            <a:br>
              <a:rPr lang="sv-SE" b="1" dirty="0"/>
            </a:br>
            <a:r>
              <a:rPr lang="sv-SE" dirty="0"/>
              <a:t>Nej, det är många faktorer som påverkar om en vårdtjänst är lämplig för webbtidboken och i vilken utsträckning. Därför behöver en inventering göras inför uppstart</a:t>
            </a:r>
            <a:r>
              <a:rPr lang="sv-SE" b="1" dirty="0"/>
              <a:t>.</a:t>
            </a:r>
          </a:p>
          <a:p>
            <a:r>
              <a:rPr lang="sv-SE" b="1" dirty="0"/>
              <a:t>Ska alla patienter boka tider själv?</a:t>
            </a:r>
            <a:br>
              <a:rPr lang="sv-SE" dirty="0"/>
            </a:br>
            <a:r>
              <a:rPr lang="sv-SE" dirty="0"/>
              <a:t>Alla patienter som kan boka sina tider själva ska göra det. De patienter som inte kan eller har möjlighet får hjälp att boka tid.</a:t>
            </a:r>
          </a:p>
          <a:p>
            <a:pPr marL="0" indent="0">
              <a:buNone/>
            </a:pPr>
            <a:endParaRPr lang="sv-SE" dirty="0"/>
          </a:p>
          <a:p>
            <a:pPr marL="0" indent="0">
              <a:buNone/>
            </a:pPr>
            <a:endParaRPr lang="sv-SE" dirty="0"/>
          </a:p>
          <a:p>
            <a:pPr marL="0" indent="0">
              <a:buNone/>
            </a:pPr>
            <a:br>
              <a:rPr lang="sv-SE" dirty="0"/>
            </a:br>
            <a:endParaRPr lang="sv-SE" dirty="0"/>
          </a:p>
        </p:txBody>
      </p:sp>
      <p:sp>
        <p:nvSpPr>
          <p:cNvPr id="3" name="Rubrik 2">
            <a:extLst>
              <a:ext uri="{FF2B5EF4-FFF2-40B4-BE49-F238E27FC236}">
                <a16:creationId xmlns:a16="http://schemas.microsoft.com/office/drawing/2014/main" id="{6110282A-B16F-40E4-815F-7EC33ABB4C05}"/>
              </a:ext>
            </a:extLst>
          </p:cNvPr>
          <p:cNvSpPr>
            <a:spLocks noGrp="1"/>
          </p:cNvSpPr>
          <p:nvPr>
            <p:ph type="title"/>
          </p:nvPr>
        </p:nvSpPr>
        <p:spPr/>
        <p:txBody>
          <a:bodyPr/>
          <a:lstStyle/>
          <a:p>
            <a:r>
              <a:rPr lang="sv-SE" dirty="0"/>
              <a:t>Vanliga frågor och svar</a:t>
            </a:r>
          </a:p>
        </p:txBody>
      </p:sp>
    </p:spTree>
    <p:extLst>
      <p:ext uri="{BB962C8B-B14F-4D97-AF65-F5344CB8AC3E}">
        <p14:creationId xmlns:p14="http://schemas.microsoft.com/office/powerpoint/2010/main" val="17105925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7D94303-D64B-4197-9B2E-E1078C8FE5C4}"/>
              </a:ext>
            </a:extLst>
          </p:cNvPr>
          <p:cNvSpPr>
            <a:spLocks noGrp="1"/>
          </p:cNvSpPr>
          <p:nvPr>
            <p:ph sz="quarter" idx="11"/>
          </p:nvPr>
        </p:nvSpPr>
        <p:spPr/>
        <p:txBody>
          <a:bodyPr>
            <a:normAutofit lnSpcReduction="10000"/>
          </a:bodyPr>
          <a:lstStyle/>
          <a:p>
            <a:r>
              <a:rPr lang="sv-SE" sz="2400" dirty="0"/>
              <a:t>Det är olika hur långt olika verksamheter har kommit. En del verksamheter har infört webbtidbok medan andra arbetar med kartläggning och införande. De verksamheter som har infört webbtidbok är till exempel BVC och samt astma-, kol- och diabetesmottagningar på samtliga offentliga vårdcentraler</a:t>
            </a:r>
            <a:br>
              <a:rPr lang="sv-SE" sz="2400" dirty="0"/>
            </a:br>
            <a:endParaRPr lang="sv-SE" sz="2400" dirty="0"/>
          </a:p>
          <a:p>
            <a:r>
              <a:rPr lang="sv-SE" sz="2400" dirty="0"/>
              <a:t>Pilot pågår</a:t>
            </a:r>
            <a:br>
              <a:rPr lang="sv-SE" sz="2400" dirty="0"/>
            </a:br>
            <a:r>
              <a:rPr lang="sv-SE" sz="2400" dirty="0"/>
              <a:t>-  för vårdcentralerna. Piloten utförs på vårdcentralerna Markaryd och Strömsnäsbruk. I piloten har alla vårdtjänster inventerats och lämpliga har aktiverats för webbtidbok.</a:t>
            </a:r>
            <a:br>
              <a:rPr lang="sv-SE" sz="2400" dirty="0"/>
            </a:br>
            <a:endParaRPr lang="sv-SE" sz="2400" dirty="0"/>
          </a:p>
          <a:p>
            <a:endParaRPr lang="sv-SE" dirty="0"/>
          </a:p>
        </p:txBody>
      </p:sp>
      <p:sp>
        <p:nvSpPr>
          <p:cNvPr id="3" name="Rubrik 2">
            <a:extLst>
              <a:ext uri="{FF2B5EF4-FFF2-40B4-BE49-F238E27FC236}">
                <a16:creationId xmlns:a16="http://schemas.microsoft.com/office/drawing/2014/main" id="{54A3033A-D1EB-443E-BC04-7CE057E9B1D9}"/>
              </a:ext>
            </a:extLst>
          </p:cNvPr>
          <p:cNvSpPr>
            <a:spLocks noGrp="1"/>
          </p:cNvSpPr>
          <p:nvPr>
            <p:ph type="title"/>
          </p:nvPr>
        </p:nvSpPr>
        <p:spPr/>
        <p:txBody>
          <a:bodyPr/>
          <a:lstStyle/>
          <a:p>
            <a:r>
              <a:rPr lang="sv-SE" dirty="0"/>
              <a:t>Införande av webbtidboken (PPR)</a:t>
            </a:r>
          </a:p>
        </p:txBody>
      </p:sp>
    </p:spTree>
    <p:extLst>
      <p:ext uri="{BB962C8B-B14F-4D97-AF65-F5344CB8AC3E}">
        <p14:creationId xmlns:p14="http://schemas.microsoft.com/office/powerpoint/2010/main" val="17566259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40BA445-B56B-43B8-B946-AA1E5FC81710}"/>
              </a:ext>
            </a:extLst>
          </p:cNvPr>
          <p:cNvSpPr>
            <a:spLocks noGrp="1"/>
          </p:cNvSpPr>
          <p:nvPr>
            <p:ph sz="quarter" idx="11"/>
          </p:nvPr>
        </p:nvSpPr>
        <p:spPr/>
        <p:txBody>
          <a:bodyPr/>
          <a:lstStyle/>
          <a:p>
            <a:r>
              <a:rPr lang="sv-SE" sz="2000" dirty="0"/>
              <a:t>Kartläggning och införande pågår för samtliga kliniker</a:t>
            </a:r>
          </a:p>
          <a:p>
            <a:r>
              <a:rPr lang="sv-SE" sz="2000" dirty="0"/>
              <a:t>Flera kliniker har aktiverat webbtidbok i olika grad; bland annat kvinnokliniken, medicinkliniken, barn – och ungdomskliniken, ortopedkliniken, </a:t>
            </a:r>
            <a:r>
              <a:rPr lang="sv-SE" sz="2000" dirty="0" err="1"/>
              <a:t>lasarettsrehab</a:t>
            </a:r>
            <a:r>
              <a:rPr lang="sv-SE" sz="2000" dirty="0"/>
              <a:t>, infektionskliniken, hudkliniken, öron-näsa-hals-kliniken, mödravården. </a:t>
            </a:r>
          </a:p>
          <a:p>
            <a:pPr marL="0" indent="0">
              <a:buNone/>
            </a:pPr>
            <a:endParaRPr lang="sv-SE" dirty="0"/>
          </a:p>
        </p:txBody>
      </p:sp>
      <p:sp>
        <p:nvSpPr>
          <p:cNvPr id="3" name="Rubrik 2">
            <a:extLst>
              <a:ext uri="{FF2B5EF4-FFF2-40B4-BE49-F238E27FC236}">
                <a16:creationId xmlns:a16="http://schemas.microsoft.com/office/drawing/2014/main" id="{96D0DBF0-3765-4031-A435-B7EE2E479ED5}"/>
              </a:ext>
            </a:extLst>
          </p:cNvPr>
          <p:cNvSpPr>
            <a:spLocks noGrp="1"/>
          </p:cNvSpPr>
          <p:nvPr>
            <p:ph type="title"/>
          </p:nvPr>
        </p:nvSpPr>
        <p:spPr/>
        <p:txBody>
          <a:bodyPr/>
          <a:lstStyle/>
          <a:p>
            <a:r>
              <a:rPr lang="sv-SE" dirty="0"/>
              <a:t>Införande av webbtidboken (SHV)</a:t>
            </a:r>
          </a:p>
        </p:txBody>
      </p:sp>
    </p:spTree>
    <p:extLst>
      <p:ext uri="{BB962C8B-B14F-4D97-AF65-F5344CB8AC3E}">
        <p14:creationId xmlns:p14="http://schemas.microsoft.com/office/powerpoint/2010/main" val="3947217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4FEA20C-43A6-4303-9C97-B8382115EC29}"/>
              </a:ext>
            </a:extLst>
          </p:cNvPr>
          <p:cNvSpPr>
            <a:spLocks noGrp="1"/>
          </p:cNvSpPr>
          <p:nvPr>
            <p:ph sz="quarter" idx="11"/>
          </p:nvPr>
        </p:nvSpPr>
        <p:spPr/>
        <p:txBody>
          <a:bodyPr/>
          <a:lstStyle/>
          <a:p>
            <a:r>
              <a:rPr lang="sv-SE" dirty="0"/>
              <a:t>När det är dags för en verksamhet att påbörja införande av webbtidbok eller optimering av befintlig webbtidbok kan man ta del av följande steg. </a:t>
            </a:r>
          </a:p>
          <a:p>
            <a:r>
              <a:rPr lang="sv-SE" dirty="0"/>
              <a:t>Läs mer här: </a:t>
            </a:r>
            <a:r>
              <a:rPr lang="sv-SE" dirty="0">
                <a:hlinkClick r:id="rId2"/>
              </a:rPr>
              <a:t>Vårdgivarwebben - Boka/kalla-processen (regionkronoberg.se)</a:t>
            </a:r>
            <a:endParaRPr lang="sv-SE" dirty="0"/>
          </a:p>
          <a:p>
            <a:pPr marL="0" indent="0">
              <a:buNone/>
            </a:pPr>
            <a:endParaRPr lang="sv-SE" dirty="0"/>
          </a:p>
        </p:txBody>
      </p:sp>
      <p:sp>
        <p:nvSpPr>
          <p:cNvPr id="3" name="Rubrik 2">
            <a:extLst>
              <a:ext uri="{FF2B5EF4-FFF2-40B4-BE49-F238E27FC236}">
                <a16:creationId xmlns:a16="http://schemas.microsoft.com/office/drawing/2014/main" id="{15627024-0D93-43B4-A583-AC46511EC9D2}"/>
              </a:ext>
            </a:extLst>
          </p:cNvPr>
          <p:cNvSpPr>
            <a:spLocks noGrp="1"/>
          </p:cNvSpPr>
          <p:nvPr>
            <p:ph type="title"/>
          </p:nvPr>
        </p:nvSpPr>
        <p:spPr/>
        <p:txBody>
          <a:bodyPr/>
          <a:lstStyle/>
          <a:p>
            <a:r>
              <a:rPr lang="sv-SE" dirty="0"/>
              <a:t>Införande av webbtidbok</a:t>
            </a:r>
          </a:p>
        </p:txBody>
      </p:sp>
    </p:spTree>
    <p:extLst>
      <p:ext uri="{BB962C8B-B14F-4D97-AF65-F5344CB8AC3E}">
        <p14:creationId xmlns:p14="http://schemas.microsoft.com/office/powerpoint/2010/main" val="2127235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D46626F-F7F1-4855-8676-E8928110AFC2}"/>
              </a:ext>
            </a:extLst>
          </p:cNvPr>
          <p:cNvSpPr>
            <a:spLocks noGrp="1"/>
          </p:cNvSpPr>
          <p:nvPr>
            <p:ph sz="quarter" idx="11"/>
          </p:nvPr>
        </p:nvSpPr>
        <p:spPr/>
        <p:txBody>
          <a:bodyPr>
            <a:normAutofit fontScale="92500"/>
          </a:bodyPr>
          <a:lstStyle/>
          <a:p>
            <a:r>
              <a:rPr lang="sv-SE" dirty="0"/>
              <a:t>Genom uppgiftsväxling mellan vårdpersonal och administrativ personal frigörs tid som vårdpersonal kan lägga på patienter.</a:t>
            </a:r>
          </a:p>
          <a:p>
            <a:r>
              <a:rPr lang="sv-SE" dirty="0"/>
              <a:t>När läkare och andra som tidigare dikterat till medicinska sekreterare använder taligenkänning frigörs tid. Den frigjorda tiden som uppstår med taligenkänning ska användas vid uppgiftsväxling. </a:t>
            </a:r>
          </a:p>
          <a:p>
            <a:r>
              <a:rPr lang="sv-SE" dirty="0"/>
              <a:t>Det är olika hur långt olika verksamheter har kommit. Redan idag utförs detta av administrativ personal på flera av sjukhusvårdens kliniker.</a:t>
            </a:r>
          </a:p>
          <a:p>
            <a:r>
              <a:rPr lang="sv-SE" dirty="0"/>
              <a:t>På Boka/kalla sidan på Vårdgivarwebben finns information om hur verksamheten förbereder sig för uppgiftsväxling. </a:t>
            </a:r>
            <a:r>
              <a:rPr lang="sv-SE" dirty="0">
                <a:hlinkClick r:id="rId3"/>
              </a:rPr>
              <a:t>www.regionkronoberg.se/vardgivare/arbetsomraden-processer/bokakalla-processen/</a:t>
            </a:r>
            <a:endParaRPr lang="sv-SE" dirty="0"/>
          </a:p>
          <a:p>
            <a:r>
              <a:rPr lang="sv-SE" dirty="0"/>
              <a:t>Projektet ska vara breddinfört Q1 2025.</a:t>
            </a:r>
          </a:p>
          <a:p>
            <a:endParaRPr lang="sv-SE" dirty="0"/>
          </a:p>
          <a:p>
            <a:endParaRPr lang="sv-SE" dirty="0"/>
          </a:p>
          <a:p>
            <a:endParaRPr lang="sv-SE" dirty="0"/>
          </a:p>
        </p:txBody>
      </p:sp>
      <p:sp>
        <p:nvSpPr>
          <p:cNvPr id="3" name="Rubrik 2">
            <a:extLst>
              <a:ext uri="{FF2B5EF4-FFF2-40B4-BE49-F238E27FC236}">
                <a16:creationId xmlns:a16="http://schemas.microsoft.com/office/drawing/2014/main" id="{10EA9EB8-CBB4-4ABD-B2A7-C7CB590E9B98}"/>
              </a:ext>
            </a:extLst>
          </p:cNvPr>
          <p:cNvSpPr>
            <a:spLocks noGrp="1"/>
          </p:cNvSpPr>
          <p:nvPr>
            <p:ph type="title"/>
          </p:nvPr>
        </p:nvSpPr>
        <p:spPr/>
        <p:txBody>
          <a:bodyPr/>
          <a:lstStyle/>
          <a:p>
            <a:r>
              <a:rPr lang="sv-SE" dirty="0"/>
              <a:t>Uppgiftsväxling Till administrativ personal</a:t>
            </a:r>
          </a:p>
        </p:txBody>
      </p:sp>
    </p:spTree>
    <p:extLst>
      <p:ext uri="{BB962C8B-B14F-4D97-AF65-F5344CB8AC3E}">
        <p14:creationId xmlns:p14="http://schemas.microsoft.com/office/powerpoint/2010/main" val="40497835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gion Kronoberg ljus">
  <a:themeElements>
    <a:clrScheme name="Kronoberg LJUS 2022">
      <a:dk1>
        <a:sysClr val="windowText" lastClr="000000"/>
      </a:dk1>
      <a:lt1>
        <a:sysClr val="window" lastClr="FFFFFF"/>
      </a:lt1>
      <a:dk2>
        <a:srgbClr val="412682"/>
      </a:dk2>
      <a:lt2>
        <a:srgbClr val="E13288"/>
      </a:lt2>
      <a:accent1>
        <a:srgbClr val="E13288"/>
      </a:accent1>
      <a:accent2>
        <a:srgbClr val="412682"/>
      </a:accent2>
      <a:accent3>
        <a:srgbClr val="83B81A"/>
      </a:accent3>
      <a:accent4>
        <a:srgbClr val="1E6633"/>
      </a:accent4>
      <a:accent5>
        <a:srgbClr val="009EE0"/>
      </a:accent5>
      <a:accent6>
        <a:srgbClr val="BCB1AB"/>
      </a:accent6>
      <a:hlink>
        <a:srgbClr val="E13288"/>
      </a:hlink>
      <a:folHlink>
        <a:srgbClr val="009EE0"/>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30A55D23-B3F1-4EF4-A3DC-3A9F0F8D93A5}" vid="{668A7373-14EF-4A9B-80F9-0516CD47C373}"/>
    </a:ext>
  </a:extLst>
</a:theme>
</file>

<file path=ppt/theme/theme2.xml><?xml version="1.0" encoding="utf-8"?>
<a:theme xmlns:a="http://schemas.openxmlformats.org/drawingml/2006/main" name="Region Kronoberg MÖRK">
  <a:themeElements>
    <a:clrScheme name="Kronoberg MÖRK 2022">
      <a:dk1>
        <a:srgbClr val="FFFFFF"/>
      </a:dk1>
      <a:lt1>
        <a:srgbClr val="000000"/>
      </a:lt1>
      <a:dk2>
        <a:srgbClr val="E13288"/>
      </a:dk2>
      <a:lt2>
        <a:srgbClr val="83B81A"/>
      </a:lt2>
      <a:accent1>
        <a:srgbClr val="83B81A"/>
      </a:accent1>
      <a:accent2>
        <a:srgbClr val="E13288"/>
      </a:accent2>
      <a:accent3>
        <a:srgbClr val="009EE0"/>
      </a:accent3>
      <a:accent4>
        <a:srgbClr val="F39800"/>
      </a:accent4>
      <a:accent5>
        <a:srgbClr val="FBD300"/>
      </a:accent5>
      <a:accent6>
        <a:srgbClr val="BCB1AB"/>
      </a:accent6>
      <a:hlink>
        <a:srgbClr val="009EE0"/>
      </a:hlink>
      <a:folHlink>
        <a:srgbClr val="1E6633"/>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30A55D23-B3F1-4EF4-A3DC-3A9F0F8D93A5}" vid="{0BBB24D2-D144-497A-AAEF-42E9FBCC59EE}"/>
    </a:ext>
  </a:extLst>
</a:theme>
</file>

<file path=ppt/theme/theme3.xml><?xml version="1.0" encoding="utf-8"?>
<a:theme xmlns:a="http://schemas.openxmlformats.org/drawingml/2006/main" name="1_Region Kronoberg MÖRK">
  <a:themeElements>
    <a:clrScheme name="Region Kronoberg MÖRK">
      <a:dk1>
        <a:sysClr val="windowText" lastClr="000000"/>
      </a:dk1>
      <a:lt1>
        <a:sysClr val="window" lastClr="FFFFFF"/>
      </a:lt1>
      <a:dk2>
        <a:srgbClr val="E13288"/>
      </a:dk2>
      <a:lt2>
        <a:srgbClr val="83B81A"/>
      </a:lt2>
      <a:accent1>
        <a:srgbClr val="009EE0"/>
      </a:accent1>
      <a:accent2>
        <a:srgbClr val="F39800"/>
      </a:accent2>
      <a:accent3>
        <a:srgbClr val="FBD300"/>
      </a:accent3>
      <a:accent4>
        <a:srgbClr val="412682"/>
      </a:accent4>
      <a:accent5>
        <a:srgbClr val="83B81A"/>
      </a:accent5>
      <a:accent6>
        <a:srgbClr val="BCB1AB"/>
      </a:accent6>
      <a:hlink>
        <a:srgbClr val="E13288"/>
      </a:hlink>
      <a:folHlink>
        <a:srgbClr val="1E6633"/>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7619DAD0-3D17-4DF0-B11C-CDFABD332832}"/>
    </a:ext>
  </a:extLst>
</a:theme>
</file>

<file path=ppt/theme/theme4.xml><?xml version="1.0" encoding="utf-8"?>
<a:theme xmlns:a="http://schemas.openxmlformats.org/drawingml/2006/main" name="1_Region Kronoberg ljus">
  <a:themeElements>
    <a:clrScheme name="Region Kronoberg LJUS">
      <a:dk1>
        <a:sysClr val="windowText" lastClr="000000"/>
      </a:dk1>
      <a:lt1>
        <a:sysClr val="window" lastClr="FFFFFF"/>
      </a:lt1>
      <a:dk2>
        <a:srgbClr val="412682"/>
      </a:dk2>
      <a:lt2>
        <a:srgbClr val="E13288"/>
      </a:lt2>
      <a:accent1>
        <a:srgbClr val="83B81A"/>
      </a:accent1>
      <a:accent2>
        <a:srgbClr val="1E6633"/>
      </a:accent2>
      <a:accent3>
        <a:srgbClr val="412682"/>
      </a:accent3>
      <a:accent4>
        <a:srgbClr val="FBD300"/>
      </a:accent4>
      <a:accent5>
        <a:srgbClr val="F39800"/>
      </a:accent5>
      <a:accent6>
        <a:srgbClr val="BCB1AB"/>
      </a:accent6>
      <a:hlink>
        <a:srgbClr val="E13288"/>
      </a:hlink>
      <a:folHlink>
        <a:srgbClr val="009EE0"/>
      </a:folHlink>
    </a:clrScheme>
    <a:fontScheme name="Reg Kronoberg2021">
      <a:majorFont>
        <a:latin typeface="Brandon Grotesque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D3039035-E9F3-4C3A-B587-8C531F5D8C63}" vid="{BC2B6388-CDCB-4389-ADE0-5FCEC97757FD}"/>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gion Kronoberg mall</Template>
  <TotalTime>493</TotalTime>
  <Words>885</Words>
  <Application>Microsoft Office PowerPoint</Application>
  <PresentationFormat>Bredbild</PresentationFormat>
  <Paragraphs>53</Paragraphs>
  <Slides>11</Slides>
  <Notes>3</Notes>
  <HiddenSlides>0</HiddenSlides>
  <MMClips>0</MMClips>
  <ScaleCrop>false</ScaleCrop>
  <HeadingPairs>
    <vt:vector size="8" baseType="variant">
      <vt:variant>
        <vt:lpstr>Använt teckensnitt</vt:lpstr>
      </vt:variant>
      <vt:variant>
        <vt:i4>4</vt:i4>
      </vt:variant>
      <vt:variant>
        <vt:lpstr>Tema</vt:lpstr>
      </vt:variant>
      <vt:variant>
        <vt:i4>4</vt:i4>
      </vt:variant>
      <vt:variant>
        <vt:lpstr>Serverprogram för OLE-inbäddning</vt:lpstr>
      </vt:variant>
      <vt:variant>
        <vt:i4>1</vt:i4>
      </vt:variant>
      <vt:variant>
        <vt:lpstr>Bildrubriker</vt:lpstr>
      </vt:variant>
      <vt:variant>
        <vt:i4>11</vt:i4>
      </vt:variant>
    </vt:vector>
  </HeadingPairs>
  <TitlesOfParts>
    <vt:vector size="20" baseType="lpstr">
      <vt:lpstr>Arial</vt:lpstr>
      <vt:lpstr>Brandon Grotesque Black</vt:lpstr>
      <vt:lpstr>Brandon Grotesque Bold</vt:lpstr>
      <vt:lpstr>Calibri</vt:lpstr>
      <vt:lpstr>Region Kronoberg ljus</vt:lpstr>
      <vt:lpstr>Region Kronoberg MÖRK</vt:lpstr>
      <vt:lpstr>1_Region Kronoberg MÖRK</vt:lpstr>
      <vt:lpstr>1_Region Kronoberg ljus</vt:lpstr>
      <vt:lpstr>think-cell Slide</vt:lpstr>
      <vt:lpstr>Boka/kalla Processen</vt:lpstr>
      <vt:lpstr>Boka/Kalla Processen – en del i omställningen till nära vård</vt:lpstr>
      <vt:lpstr>Varför ska vi kompetensväxla och kompetensutveckla?</vt:lpstr>
      <vt:lpstr>Uppgiftväxling till Patient- Webbtidbok</vt:lpstr>
      <vt:lpstr>Vanliga frågor och svar</vt:lpstr>
      <vt:lpstr>Införande av webbtidboken (PPR)</vt:lpstr>
      <vt:lpstr>Införande av webbtidboken (SHV)</vt:lpstr>
      <vt:lpstr>Införande av webbtidbok</vt:lpstr>
      <vt:lpstr>Uppgiftsväxling Till administrativ personal</vt:lpstr>
      <vt:lpstr>Vanliga frågor och svar</vt:lpstr>
      <vt:lpstr>Mer info om boka/Kalla proces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Forsberg Emma RST kommunikationsavd</dc:creator>
  <cp:lastModifiedBy>Forsberg Emma RST kommunikationsavd</cp:lastModifiedBy>
  <cp:revision>51</cp:revision>
  <dcterms:created xsi:type="dcterms:W3CDTF">2023-02-15T08:15:30Z</dcterms:created>
  <dcterms:modified xsi:type="dcterms:W3CDTF">2023-04-03T06:11:53Z</dcterms:modified>
</cp:coreProperties>
</file>